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10"/>
  </p:notesMasterIdLst>
  <p:handoutMasterIdLst>
    <p:handoutMasterId r:id="rId11"/>
  </p:handoutMasterIdLst>
  <p:sldIdLst>
    <p:sldId id="256" r:id="rId5"/>
    <p:sldId id="261" r:id="rId6"/>
    <p:sldId id="259" r:id="rId7"/>
    <p:sldId id="258" r:id="rId8"/>
    <p:sldId id="262" r:id="rId9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0C9C837-0B18-9E94-3280-8377E87398C5}" v="299" dt="2022-08-26T13:59:29.959"/>
    <p1510:client id="{3C78F3C0-8E53-1F23-52F2-5AA3EFB0CCC4}" v="1944" dt="2022-08-29T11:40:56.551"/>
    <p1510:client id="{3FAE4E54-8131-4680-BD3D-15D85D606DCB}" v="6" dt="2022-08-26T13:46:53.268"/>
    <p1510:client id="{99058F2B-8B34-4454-9378-F1755102A275}" v="30" dt="2022-08-29T11:50:50.911"/>
    <p1510:client id="{E96FF7E9-AF6C-21A6-0CCE-66ABBB7659DD}" v="37" dt="2022-08-29T12:11:17.828"/>
    <p1510:client id="{ED21316F-2E7D-7BD1-76F2-AF0867DA19AA}" v="401" dt="2022-08-29T07:06:39.60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3" d="100"/>
          <a:sy n="53" d="100"/>
        </p:scale>
        <p:origin x="835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uri Lindalen" userId="S::turili@uio.no::88c89fb8-eae1-4d10-8c28-d3c8b80d08f6" providerId="AD" clId="Web-{10C9C837-0B18-9E94-3280-8377E87398C5}"/>
    <pc:docChg chg="modSld">
      <pc:chgData name="Turi Lindalen" userId="S::turili@uio.no::88c89fb8-eae1-4d10-8c28-d3c8b80d08f6" providerId="AD" clId="Web-{10C9C837-0B18-9E94-3280-8377E87398C5}" dt="2022-08-26T13:59:29.959" v="298" actId="20577"/>
      <pc:docMkLst>
        <pc:docMk/>
      </pc:docMkLst>
      <pc:sldChg chg="modSp">
        <pc:chgData name="Turi Lindalen" userId="S::turili@uio.no::88c89fb8-eae1-4d10-8c28-d3c8b80d08f6" providerId="AD" clId="Web-{10C9C837-0B18-9E94-3280-8377E87398C5}" dt="2022-08-26T13:46:50.757" v="0" actId="1076"/>
        <pc:sldMkLst>
          <pc:docMk/>
          <pc:sldMk cId="2914729726" sldId="256"/>
        </pc:sldMkLst>
        <pc:spChg chg="mod">
          <ac:chgData name="Turi Lindalen" userId="S::turili@uio.no::88c89fb8-eae1-4d10-8c28-d3c8b80d08f6" providerId="AD" clId="Web-{10C9C837-0B18-9E94-3280-8377E87398C5}" dt="2022-08-26T13:46:50.757" v="0" actId="1076"/>
          <ac:spMkLst>
            <pc:docMk/>
            <pc:sldMk cId="2914729726" sldId="256"/>
            <ac:spMk id="18" creationId="{9F40DD53-EC94-48D9-AB70-0FA1A31E6393}"/>
          </ac:spMkLst>
        </pc:spChg>
      </pc:sldChg>
      <pc:sldChg chg="modSp">
        <pc:chgData name="Turi Lindalen" userId="S::turili@uio.no::88c89fb8-eae1-4d10-8c28-d3c8b80d08f6" providerId="AD" clId="Web-{10C9C837-0B18-9E94-3280-8377E87398C5}" dt="2022-08-26T13:59:29.959" v="298" actId="20577"/>
        <pc:sldMkLst>
          <pc:docMk/>
          <pc:sldMk cId="3190676672" sldId="259"/>
        </pc:sldMkLst>
        <pc:spChg chg="mod">
          <ac:chgData name="Turi Lindalen" userId="S::turili@uio.no::88c89fb8-eae1-4d10-8c28-d3c8b80d08f6" providerId="AD" clId="Web-{10C9C837-0B18-9E94-3280-8377E87398C5}" dt="2022-08-26T13:59:29.959" v="298" actId="20577"/>
          <ac:spMkLst>
            <pc:docMk/>
            <pc:sldMk cId="3190676672" sldId="259"/>
            <ac:spMk id="4" creationId="{3319C7DC-3925-480E-88E1-87702E5A9D2D}"/>
          </ac:spMkLst>
        </pc:spChg>
      </pc:sldChg>
      <pc:sldChg chg="modSp">
        <pc:chgData name="Turi Lindalen" userId="S::turili@uio.no::88c89fb8-eae1-4d10-8c28-d3c8b80d08f6" providerId="AD" clId="Web-{10C9C837-0B18-9E94-3280-8377E87398C5}" dt="2022-08-26T13:52:53.186" v="11" actId="20577"/>
        <pc:sldMkLst>
          <pc:docMk/>
          <pc:sldMk cId="444904486" sldId="261"/>
        </pc:sldMkLst>
        <pc:spChg chg="mod">
          <ac:chgData name="Turi Lindalen" userId="S::turili@uio.no::88c89fb8-eae1-4d10-8c28-d3c8b80d08f6" providerId="AD" clId="Web-{10C9C837-0B18-9E94-3280-8377E87398C5}" dt="2022-08-26T13:52:53.186" v="11" actId="20577"/>
          <ac:spMkLst>
            <pc:docMk/>
            <pc:sldMk cId="444904486" sldId="261"/>
            <ac:spMk id="14" creationId="{BA6185D7-050A-40DD-BC40-EEF2939728B9}"/>
          </ac:spMkLst>
        </pc:spChg>
      </pc:sldChg>
    </pc:docChg>
  </pc:docChgLst>
  <pc:docChgLst>
    <pc:chgData name="Birgitte Brørs" userId="8db4f421-7c16-4604-82c0-c290ce61928e" providerId="ADAL" clId="{3FAE4E54-8131-4680-BD3D-15D85D606DCB}"/>
    <pc:docChg chg="addSld delSld modSld">
      <pc:chgData name="Birgitte Brørs" userId="8db4f421-7c16-4604-82c0-c290ce61928e" providerId="ADAL" clId="{3FAE4E54-8131-4680-BD3D-15D85D606DCB}" dt="2022-08-26T11:33:45.170" v="8" actId="20577"/>
      <pc:docMkLst>
        <pc:docMk/>
      </pc:docMkLst>
      <pc:sldChg chg="del">
        <pc:chgData name="Birgitte Brørs" userId="8db4f421-7c16-4604-82c0-c290ce61928e" providerId="ADAL" clId="{3FAE4E54-8131-4680-BD3D-15D85D606DCB}" dt="2022-08-26T11:33:02.260" v="1" actId="47"/>
        <pc:sldMkLst>
          <pc:docMk/>
          <pc:sldMk cId="2787156424" sldId="257"/>
        </pc:sldMkLst>
      </pc:sldChg>
      <pc:sldChg chg="del">
        <pc:chgData name="Birgitte Brørs" userId="8db4f421-7c16-4604-82c0-c290ce61928e" providerId="ADAL" clId="{3FAE4E54-8131-4680-BD3D-15D85D606DCB}" dt="2022-08-26T11:33:31.777" v="3" actId="47"/>
        <pc:sldMkLst>
          <pc:docMk/>
          <pc:sldMk cId="282728006" sldId="260"/>
        </pc:sldMkLst>
      </pc:sldChg>
      <pc:sldChg chg="add">
        <pc:chgData name="Birgitte Brørs" userId="8db4f421-7c16-4604-82c0-c290ce61928e" providerId="ADAL" clId="{3FAE4E54-8131-4680-BD3D-15D85D606DCB}" dt="2022-08-26T11:32:57.266" v="0"/>
        <pc:sldMkLst>
          <pc:docMk/>
          <pc:sldMk cId="444904486" sldId="261"/>
        </pc:sldMkLst>
      </pc:sldChg>
      <pc:sldChg chg="modSp add mod">
        <pc:chgData name="Birgitte Brørs" userId="8db4f421-7c16-4604-82c0-c290ce61928e" providerId="ADAL" clId="{3FAE4E54-8131-4680-BD3D-15D85D606DCB}" dt="2022-08-26T11:33:45.170" v="8" actId="20577"/>
        <pc:sldMkLst>
          <pc:docMk/>
          <pc:sldMk cId="2040412748" sldId="262"/>
        </pc:sldMkLst>
        <pc:spChg chg="mod">
          <ac:chgData name="Birgitte Brørs" userId="8db4f421-7c16-4604-82c0-c290ce61928e" providerId="ADAL" clId="{3FAE4E54-8131-4680-BD3D-15D85D606DCB}" dt="2022-08-26T11:33:45.170" v="8" actId="20577"/>
          <ac:spMkLst>
            <pc:docMk/>
            <pc:sldMk cId="2040412748" sldId="262"/>
            <ac:spMk id="4" creationId="{524CE9E2-3CE3-4C4A-98FD-4E2542CE1C07}"/>
          </ac:spMkLst>
        </pc:spChg>
      </pc:sldChg>
    </pc:docChg>
  </pc:docChgLst>
  <pc:docChgLst>
    <pc:chgData name="Birgitte Brørs" userId="S::birgibro@uio.no::8db4f421-7c16-4604-82c0-c290ce61928e" providerId="AD" clId="Web-{E96FF7E9-AF6C-21A6-0CCE-66ABBB7659DD}"/>
    <pc:docChg chg="modSld">
      <pc:chgData name="Birgitte Brørs" userId="S::birgibro@uio.no::8db4f421-7c16-4604-82c0-c290ce61928e" providerId="AD" clId="Web-{E96FF7E9-AF6C-21A6-0CCE-66ABBB7659DD}" dt="2022-08-29T12:11:15.828" v="22" actId="20577"/>
      <pc:docMkLst>
        <pc:docMk/>
      </pc:docMkLst>
      <pc:sldChg chg="modSp">
        <pc:chgData name="Birgitte Brørs" userId="S::birgibro@uio.no::8db4f421-7c16-4604-82c0-c290ce61928e" providerId="AD" clId="Web-{E96FF7E9-AF6C-21A6-0CCE-66ABBB7659DD}" dt="2022-08-29T12:11:15.828" v="22" actId="20577"/>
        <pc:sldMkLst>
          <pc:docMk/>
          <pc:sldMk cId="1520412367" sldId="258"/>
        </pc:sldMkLst>
        <pc:spChg chg="mod">
          <ac:chgData name="Birgitte Brørs" userId="S::birgibro@uio.no::8db4f421-7c16-4604-82c0-c290ce61928e" providerId="AD" clId="Web-{E96FF7E9-AF6C-21A6-0CCE-66ABBB7659DD}" dt="2022-08-29T12:11:15.828" v="22" actId="20577"/>
          <ac:spMkLst>
            <pc:docMk/>
            <pc:sldMk cId="1520412367" sldId="258"/>
            <ac:spMk id="22" creationId="{9C9C6C5E-47D9-706C-9489-2C39AF6CF14A}"/>
          </ac:spMkLst>
        </pc:spChg>
      </pc:sldChg>
    </pc:docChg>
  </pc:docChgLst>
  <pc:docChgLst>
    <pc:chgData name="Turi Lindalen" userId="S::turili@uio.no::88c89fb8-eae1-4d10-8c28-d3c8b80d08f6" providerId="AD" clId="Web-{ED21316F-2E7D-7BD1-76F2-AF0867DA19AA}"/>
    <pc:docChg chg="modSld">
      <pc:chgData name="Turi Lindalen" userId="S::turili@uio.no::88c89fb8-eae1-4d10-8c28-d3c8b80d08f6" providerId="AD" clId="Web-{ED21316F-2E7D-7BD1-76F2-AF0867DA19AA}" dt="2022-08-29T07:06:39.607" v="406" actId="20577"/>
      <pc:docMkLst>
        <pc:docMk/>
      </pc:docMkLst>
      <pc:sldChg chg="modSp">
        <pc:chgData name="Turi Lindalen" userId="S::turili@uio.no::88c89fb8-eae1-4d10-8c28-d3c8b80d08f6" providerId="AD" clId="Web-{ED21316F-2E7D-7BD1-76F2-AF0867DA19AA}" dt="2022-08-29T07:06:39.607" v="406" actId="20577"/>
        <pc:sldMkLst>
          <pc:docMk/>
          <pc:sldMk cId="3190676672" sldId="259"/>
        </pc:sldMkLst>
        <pc:spChg chg="mod">
          <ac:chgData name="Turi Lindalen" userId="S::turili@uio.no::88c89fb8-eae1-4d10-8c28-d3c8b80d08f6" providerId="AD" clId="Web-{ED21316F-2E7D-7BD1-76F2-AF0867DA19AA}" dt="2022-08-29T07:06:39.607" v="406" actId="20577"/>
          <ac:spMkLst>
            <pc:docMk/>
            <pc:sldMk cId="3190676672" sldId="259"/>
            <ac:spMk id="4" creationId="{3319C7DC-3925-480E-88E1-87702E5A9D2D}"/>
          </ac:spMkLst>
        </pc:spChg>
      </pc:sldChg>
    </pc:docChg>
  </pc:docChgLst>
  <pc:docChgLst>
    <pc:chgData name="Lena Charlotte Finseth" userId="S::lenaf@uio.no::08f33ea8-3c4d-435d-b758-b8222a8dd199" providerId="AD" clId="Web-{99058F2B-8B34-4454-9378-F1755102A275}"/>
    <pc:docChg chg="modSld">
      <pc:chgData name="Lena Charlotte Finseth" userId="S::lenaf@uio.no::08f33ea8-3c4d-435d-b758-b8222a8dd199" providerId="AD" clId="Web-{99058F2B-8B34-4454-9378-F1755102A275}" dt="2022-08-29T11:50:50.911" v="17" actId="20577"/>
      <pc:docMkLst>
        <pc:docMk/>
      </pc:docMkLst>
      <pc:sldChg chg="modSp">
        <pc:chgData name="Lena Charlotte Finseth" userId="S::lenaf@uio.no::08f33ea8-3c4d-435d-b758-b8222a8dd199" providerId="AD" clId="Web-{99058F2B-8B34-4454-9378-F1755102A275}" dt="2022-08-29T11:50:50.911" v="17" actId="20577"/>
        <pc:sldMkLst>
          <pc:docMk/>
          <pc:sldMk cId="1520412367" sldId="258"/>
        </pc:sldMkLst>
        <pc:spChg chg="mod">
          <ac:chgData name="Lena Charlotte Finseth" userId="S::lenaf@uio.no::08f33ea8-3c4d-435d-b758-b8222a8dd199" providerId="AD" clId="Web-{99058F2B-8B34-4454-9378-F1755102A275}" dt="2022-08-29T11:50:50.911" v="17" actId="20577"/>
          <ac:spMkLst>
            <pc:docMk/>
            <pc:sldMk cId="1520412367" sldId="258"/>
            <ac:spMk id="22" creationId="{9C9C6C5E-47D9-706C-9489-2C39AF6CF14A}"/>
          </ac:spMkLst>
        </pc:spChg>
      </pc:sldChg>
      <pc:sldChg chg="modSp">
        <pc:chgData name="Lena Charlotte Finseth" userId="S::lenaf@uio.no::08f33ea8-3c4d-435d-b758-b8222a8dd199" providerId="AD" clId="Web-{99058F2B-8B34-4454-9378-F1755102A275}" dt="2022-08-29T11:45:38.489" v="5" actId="20577"/>
        <pc:sldMkLst>
          <pc:docMk/>
          <pc:sldMk cId="3190676672" sldId="259"/>
        </pc:sldMkLst>
        <pc:spChg chg="mod">
          <ac:chgData name="Lena Charlotte Finseth" userId="S::lenaf@uio.no::08f33ea8-3c4d-435d-b758-b8222a8dd199" providerId="AD" clId="Web-{99058F2B-8B34-4454-9378-F1755102A275}" dt="2022-08-29T11:45:38.489" v="5" actId="20577"/>
          <ac:spMkLst>
            <pc:docMk/>
            <pc:sldMk cId="3190676672" sldId="259"/>
            <ac:spMk id="4" creationId="{3319C7DC-3925-480E-88E1-87702E5A9D2D}"/>
          </ac:spMkLst>
        </pc:spChg>
      </pc:sldChg>
    </pc:docChg>
  </pc:docChgLst>
  <pc:docChgLst>
    <pc:chgData name="Birgitte Brørs" userId="S::birgibro@uio.no::8db4f421-7c16-4604-82c0-c290ce61928e" providerId="AD" clId="Web-{3C78F3C0-8E53-1F23-52F2-5AA3EFB0CCC4}"/>
    <pc:docChg chg="addSld delSld modSld sldOrd">
      <pc:chgData name="Birgitte Brørs" userId="S::birgibro@uio.no::8db4f421-7c16-4604-82c0-c290ce61928e" providerId="AD" clId="Web-{3C78F3C0-8E53-1F23-52F2-5AA3EFB0CCC4}" dt="2022-08-29T11:40:56.551" v="1412" actId="20577"/>
      <pc:docMkLst>
        <pc:docMk/>
      </pc:docMkLst>
      <pc:sldChg chg="addSp delSp modSp add del mod modClrScheme addAnim delAnim modAnim chgLayout">
        <pc:chgData name="Birgitte Brørs" userId="S::birgibro@uio.no::8db4f421-7c16-4604-82c0-c290ce61928e" providerId="AD" clId="Web-{3C78F3C0-8E53-1F23-52F2-5AA3EFB0CCC4}" dt="2022-08-29T11:40:56.551" v="1412" actId="20577"/>
        <pc:sldMkLst>
          <pc:docMk/>
          <pc:sldMk cId="1520412367" sldId="258"/>
        </pc:sldMkLst>
        <pc:spChg chg="add del mod ord">
          <ac:chgData name="Birgitte Brørs" userId="S::birgibro@uio.no::8db4f421-7c16-4604-82c0-c290ce61928e" providerId="AD" clId="Web-{3C78F3C0-8E53-1F23-52F2-5AA3EFB0CCC4}" dt="2022-08-29T11:05:04.269" v="726"/>
          <ac:spMkLst>
            <pc:docMk/>
            <pc:sldMk cId="1520412367" sldId="258"/>
            <ac:spMk id="2" creationId="{4EFE6A22-F730-46A6-AE70-269096E0372F}"/>
          </ac:spMkLst>
        </pc:spChg>
        <pc:spChg chg="del mod ord">
          <ac:chgData name="Birgitte Brørs" userId="S::birgibro@uio.no::8db4f421-7c16-4604-82c0-c290ce61928e" providerId="AD" clId="Web-{3C78F3C0-8E53-1F23-52F2-5AA3EFB0CCC4}" dt="2022-08-29T11:01:55.503" v="706"/>
          <ac:spMkLst>
            <pc:docMk/>
            <pc:sldMk cId="1520412367" sldId="258"/>
            <ac:spMk id="3" creationId="{0300561F-7B40-415A-B0E1-59EAF4E67ABB}"/>
          </ac:spMkLst>
        </pc:spChg>
        <pc:spChg chg="del mod ord">
          <ac:chgData name="Birgitte Brørs" userId="S::birgibro@uio.no::8db4f421-7c16-4604-82c0-c290ce61928e" providerId="AD" clId="Web-{3C78F3C0-8E53-1F23-52F2-5AA3EFB0CCC4}" dt="2022-08-29T11:04:24.925" v="719"/>
          <ac:spMkLst>
            <pc:docMk/>
            <pc:sldMk cId="1520412367" sldId="258"/>
            <ac:spMk id="4" creationId="{B09EB8D1-C6D7-4A6C-8B03-F9902C7D70BC}"/>
          </ac:spMkLst>
        </pc:spChg>
        <pc:spChg chg="del mod ord">
          <ac:chgData name="Birgitte Brørs" userId="S::birgibro@uio.no::8db4f421-7c16-4604-82c0-c290ce61928e" providerId="AD" clId="Web-{3C78F3C0-8E53-1F23-52F2-5AA3EFB0CCC4}" dt="2022-08-29T11:05:33.441" v="730"/>
          <ac:spMkLst>
            <pc:docMk/>
            <pc:sldMk cId="1520412367" sldId="258"/>
            <ac:spMk id="5" creationId="{D0B3F8C5-87A8-4BAF-9C9B-59C757E16E8A}"/>
          </ac:spMkLst>
        </pc:spChg>
        <pc:spChg chg="mod ord">
          <ac:chgData name="Birgitte Brørs" userId="S::birgibro@uio.no::8db4f421-7c16-4604-82c0-c290ce61928e" providerId="AD" clId="Web-{3C78F3C0-8E53-1F23-52F2-5AA3EFB0CCC4}" dt="2022-08-29T11:00:10.909" v="698"/>
          <ac:spMkLst>
            <pc:docMk/>
            <pc:sldMk cId="1520412367" sldId="258"/>
            <ac:spMk id="6" creationId="{22D7E4CA-2478-4764-9D96-099EF04D39C0}"/>
          </ac:spMkLst>
        </pc:spChg>
        <pc:spChg chg="add del mod ord">
          <ac:chgData name="Birgitte Brørs" userId="S::birgibro@uio.no::8db4f421-7c16-4604-82c0-c290ce61928e" providerId="AD" clId="Web-{3C78F3C0-8E53-1F23-52F2-5AA3EFB0CCC4}" dt="2022-08-29T11:01:12.034" v="702"/>
          <ac:spMkLst>
            <pc:docMk/>
            <pc:sldMk cId="1520412367" sldId="258"/>
            <ac:spMk id="7" creationId="{0BB99620-7638-008F-356D-FA186A66F4DF}"/>
          </ac:spMkLst>
        </pc:spChg>
        <pc:spChg chg="add del mod ord">
          <ac:chgData name="Birgitte Brørs" userId="S::birgibro@uio.no::8db4f421-7c16-4604-82c0-c290ce61928e" providerId="AD" clId="Web-{3C78F3C0-8E53-1F23-52F2-5AA3EFB0CCC4}" dt="2022-08-29T11:01:04.581" v="701"/>
          <ac:spMkLst>
            <pc:docMk/>
            <pc:sldMk cId="1520412367" sldId="258"/>
            <ac:spMk id="8" creationId="{C873C0E0-6CB7-8FD6-226A-487AA7123CA9}"/>
          </ac:spMkLst>
        </pc:spChg>
        <pc:spChg chg="add del mod">
          <ac:chgData name="Birgitte Brørs" userId="S::birgibro@uio.no::8db4f421-7c16-4604-82c0-c290ce61928e" providerId="AD" clId="Web-{3C78F3C0-8E53-1F23-52F2-5AA3EFB0CCC4}" dt="2022-08-29T11:02:15.612" v="710"/>
          <ac:spMkLst>
            <pc:docMk/>
            <pc:sldMk cId="1520412367" sldId="258"/>
            <ac:spMk id="11" creationId="{2EA0CFDE-F050-0040-A230-E1DEECF67663}"/>
          </ac:spMkLst>
        </pc:spChg>
        <pc:spChg chg="add del mod">
          <ac:chgData name="Birgitte Brørs" userId="S::birgibro@uio.no::8db4f421-7c16-4604-82c0-c290ce61928e" providerId="AD" clId="Web-{3C78F3C0-8E53-1F23-52F2-5AA3EFB0CCC4}" dt="2022-08-29T11:04:09.331" v="715"/>
          <ac:spMkLst>
            <pc:docMk/>
            <pc:sldMk cId="1520412367" sldId="258"/>
            <ac:spMk id="13" creationId="{8CF6A39E-91F6-5DEF-A651-4C43F5CF0A45}"/>
          </ac:spMkLst>
        </pc:spChg>
        <pc:spChg chg="add del mod">
          <ac:chgData name="Birgitte Brørs" userId="S::birgibro@uio.no::8db4f421-7c16-4604-82c0-c290ce61928e" providerId="AD" clId="Web-{3C78F3C0-8E53-1F23-52F2-5AA3EFB0CCC4}" dt="2022-08-29T11:05:13.331" v="728"/>
          <ac:spMkLst>
            <pc:docMk/>
            <pc:sldMk cId="1520412367" sldId="258"/>
            <ac:spMk id="16" creationId="{A9E0CBCA-ABEE-F244-3F85-A7A403BAB773}"/>
          </ac:spMkLst>
        </pc:spChg>
        <pc:spChg chg="add del mod">
          <ac:chgData name="Birgitte Brørs" userId="S::birgibro@uio.no::8db4f421-7c16-4604-82c0-c290ce61928e" providerId="AD" clId="Web-{3C78F3C0-8E53-1F23-52F2-5AA3EFB0CCC4}" dt="2022-08-29T11:04:54.097" v="725"/>
          <ac:spMkLst>
            <pc:docMk/>
            <pc:sldMk cId="1520412367" sldId="258"/>
            <ac:spMk id="19" creationId="{CCEC84A5-DFCA-F4DD-2721-B9E81310EB01}"/>
          </ac:spMkLst>
        </pc:spChg>
        <pc:spChg chg="add del mod">
          <ac:chgData name="Birgitte Brørs" userId="S::birgibro@uio.no::8db4f421-7c16-4604-82c0-c290ce61928e" providerId="AD" clId="Web-{3C78F3C0-8E53-1F23-52F2-5AA3EFB0CCC4}" dt="2022-08-29T11:05:09.019" v="727"/>
          <ac:spMkLst>
            <pc:docMk/>
            <pc:sldMk cId="1520412367" sldId="258"/>
            <ac:spMk id="21" creationId="{36C77C88-9A11-900C-E625-B30BF0AAEC96}"/>
          </ac:spMkLst>
        </pc:spChg>
        <pc:spChg chg="add mod">
          <ac:chgData name="Birgitte Brørs" userId="S::birgibro@uio.no::8db4f421-7c16-4604-82c0-c290ce61928e" providerId="AD" clId="Web-{3C78F3C0-8E53-1F23-52F2-5AA3EFB0CCC4}" dt="2022-08-29T11:40:56.551" v="1412" actId="20577"/>
          <ac:spMkLst>
            <pc:docMk/>
            <pc:sldMk cId="1520412367" sldId="258"/>
            <ac:spMk id="22" creationId="{9C9C6C5E-47D9-706C-9489-2C39AF6CF14A}"/>
          </ac:spMkLst>
        </pc:spChg>
        <pc:spChg chg="add del mod">
          <ac:chgData name="Birgitte Brørs" userId="S::birgibro@uio.no::8db4f421-7c16-4604-82c0-c290ce61928e" providerId="AD" clId="Web-{3C78F3C0-8E53-1F23-52F2-5AA3EFB0CCC4}" dt="2022-08-29T11:36:09.285" v="1316"/>
          <ac:spMkLst>
            <pc:docMk/>
            <pc:sldMk cId="1520412367" sldId="258"/>
            <ac:spMk id="23" creationId="{F9489A7D-1CED-5908-A938-B0AFA49A6B0F}"/>
          </ac:spMkLst>
        </pc:spChg>
        <pc:spChg chg="add del mod">
          <ac:chgData name="Birgitte Brørs" userId="S::birgibro@uio.no::8db4f421-7c16-4604-82c0-c290ce61928e" providerId="AD" clId="Web-{3C78F3C0-8E53-1F23-52F2-5AA3EFB0CCC4}" dt="2022-08-29T11:36:04.645" v="1315"/>
          <ac:spMkLst>
            <pc:docMk/>
            <pc:sldMk cId="1520412367" sldId="258"/>
            <ac:spMk id="25" creationId="{D4CDB32D-92DD-CCE5-5C4B-8A2C10563B2B}"/>
          </ac:spMkLst>
        </pc:spChg>
        <pc:picChg chg="add del mod ord modCrop">
          <ac:chgData name="Birgitte Brørs" userId="S::birgibro@uio.no::8db4f421-7c16-4604-82c0-c290ce61928e" providerId="AD" clId="Web-{3C78F3C0-8E53-1F23-52F2-5AA3EFB0CCC4}" dt="2022-08-29T11:02:27.487" v="711"/>
          <ac:picMkLst>
            <pc:docMk/>
            <pc:sldMk cId="1520412367" sldId="258"/>
            <ac:picMk id="9" creationId="{39475E65-A497-B5A7-6F9E-32D79CB20D16}"/>
          </ac:picMkLst>
        </pc:picChg>
        <pc:picChg chg="add del mod ord modCrop">
          <ac:chgData name="Birgitte Brørs" userId="S::birgibro@uio.no::8db4f421-7c16-4604-82c0-c290ce61928e" providerId="AD" clId="Web-{3C78F3C0-8E53-1F23-52F2-5AA3EFB0CCC4}" dt="2022-08-29T11:04:21.722" v="718"/>
          <ac:picMkLst>
            <pc:docMk/>
            <pc:sldMk cId="1520412367" sldId="258"/>
            <ac:picMk id="14" creationId="{A89BC0ED-9B1C-761C-5025-7297280EBB02}"/>
          </ac:picMkLst>
        </pc:picChg>
        <pc:picChg chg="add mod ord">
          <ac:chgData name="Birgitte Brørs" userId="S::birgibro@uio.no::8db4f421-7c16-4604-82c0-c290ce61928e" providerId="AD" clId="Web-{3C78F3C0-8E53-1F23-52F2-5AA3EFB0CCC4}" dt="2022-08-29T11:16:52.628" v="1015" actId="14100"/>
          <ac:picMkLst>
            <pc:docMk/>
            <pc:sldMk cId="1520412367" sldId="258"/>
            <ac:picMk id="17" creationId="{2A146875-56BB-9B1F-E597-866D2100E70F}"/>
          </ac:picMkLst>
        </pc:picChg>
        <pc:picChg chg="add del mod">
          <ac:chgData name="Birgitte Brørs" userId="S::birgibro@uio.no::8db4f421-7c16-4604-82c0-c290ce61928e" providerId="AD" clId="Web-{3C78F3C0-8E53-1F23-52F2-5AA3EFB0CCC4}" dt="2022-08-29T11:33:13.723" v="1303"/>
          <ac:picMkLst>
            <pc:docMk/>
            <pc:sldMk cId="1520412367" sldId="258"/>
            <ac:picMk id="24" creationId="{BC4C4AEA-D3DE-BF2E-039C-D4E0FB93EDB1}"/>
          </ac:picMkLst>
        </pc:picChg>
      </pc:sldChg>
      <pc:sldChg chg="modSp ord">
        <pc:chgData name="Birgitte Brørs" userId="S::birgibro@uio.no::8db4f421-7c16-4604-82c0-c290ce61928e" providerId="AD" clId="Web-{3C78F3C0-8E53-1F23-52F2-5AA3EFB0CCC4}" dt="2022-08-29T11:09:07.097" v="769" actId="20577"/>
        <pc:sldMkLst>
          <pc:docMk/>
          <pc:sldMk cId="3190676672" sldId="259"/>
        </pc:sldMkLst>
        <pc:spChg chg="mod">
          <ac:chgData name="Birgitte Brørs" userId="S::birgibro@uio.no::8db4f421-7c16-4604-82c0-c290ce61928e" providerId="AD" clId="Web-{3C78F3C0-8E53-1F23-52F2-5AA3EFB0CCC4}" dt="2022-08-29T11:09:07.097" v="769" actId="20577"/>
          <ac:spMkLst>
            <pc:docMk/>
            <pc:sldMk cId="3190676672" sldId="259"/>
            <ac:spMk id="4" creationId="{3319C7DC-3925-480E-88E1-87702E5A9D2D}"/>
          </ac:spMkLst>
        </pc:spChg>
      </pc:sldChg>
      <pc:sldChg chg="modSp">
        <pc:chgData name="Birgitte Brørs" userId="S::birgibro@uio.no::8db4f421-7c16-4604-82c0-c290ce61928e" providerId="AD" clId="Web-{3C78F3C0-8E53-1F23-52F2-5AA3EFB0CCC4}" dt="2022-08-29T11:25:59.504" v="1038" actId="20577"/>
        <pc:sldMkLst>
          <pc:docMk/>
          <pc:sldMk cId="444904486" sldId="261"/>
        </pc:sldMkLst>
        <pc:spChg chg="mod">
          <ac:chgData name="Birgitte Brørs" userId="S::birgibro@uio.no::8db4f421-7c16-4604-82c0-c290ce61928e" providerId="AD" clId="Web-{3C78F3C0-8E53-1F23-52F2-5AA3EFB0CCC4}" dt="2022-08-29T11:25:59.504" v="1038" actId="20577"/>
          <ac:spMkLst>
            <pc:docMk/>
            <pc:sldMk cId="444904486" sldId="261"/>
            <ac:spMk id="14" creationId="{BA6185D7-050A-40DD-BC40-EEF2939728B9}"/>
          </ac:spMkLst>
        </pc:spChg>
      </pc:sldChg>
      <pc:sldChg chg="delSp modSp new del mod modClrScheme chgLayout">
        <pc:chgData name="Birgitte Brørs" userId="S::birgibro@uio.no::8db4f421-7c16-4604-82c0-c290ce61928e" providerId="AD" clId="Web-{3C78F3C0-8E53-1F23-52F2-5AA3EFB0CCC4}" dt="2022-08-29T11:15:38.582" v="1008"/>
        <pc:sldMkLst>
          <pc:docMk/>
          <pc:sldMk cId="1140224310" sldId="263"/>
        </pc:sldMkLst>
        <pc:spChg chg="mod ord">
          <ac:chgData name="Birgitte Brørs" userId="S::birgibro@uio.no::8db4f421-7c16-4604-82c0-c290ce61928e" providerId="AD" clId="Web-{3C78F3C0-8E53-1F23-52F2-5AA3EFB0CCC4}" dt="2022-08-29T07:15:16.467" v="645" actId="20577"/>
          <ac:spMkLst>
            <pc:docMk/>
            <pc:sldMk cId="1140224310" sldId="263"/>
            <ac:spMk id="2" creationId="{FDE9E7A2-7D1E-2668-7597-87424C5DA9B7}"/>
          </ac:spMkLst>
        </pc:spChg>
        <pc:spChg chg="del">
          <ac:chgData name="Birgitte Brørs" userId="S::birgibro@uio.no::8db4f421-7c16-4604-82c0-c290ce61928e" providerId="AD" clId="Web-{3C78F3C0-8E53-1F23-52F2-5AA3EFB0CCC4}" dt="2022-08-29T06:57:48.533" v="376"/>
          <ac:spMkLst>
            <pc:docMk/>
            <pc:sldMk cId="1140224310" sldId="263"/>
            <ac:spMk id="3" creationId="{4716037D-A331-5979-2874-807F2662AACE}"/>
          </ac:spMkLst>
        </pc:spChg>
        <pc:spChg chg="del">
          <ac:chgData name="Birgitte Brørs" userId="S::birgibro@uio.no::8db4f421-7c16-4604-82c0-c290ce61928e" providerId="AD" clId="Web-{3C78F3C0-8E53-1F23-52F2-5AA3EFB0CCC4}" dt="2022-08-29T06:57:48.533" v="376"/>
          <ac:spMkLst>
            <pc:docMk/>
            <pc:sldMk cId="1140224310" sldId="263"/>
            <ac:spMk id="4" creationId="{4D77AB0A-C6A1-DA90-F80D-3439986112FA}"/>
          </ac:spMkLst>
        </pc:spChg>
        <pc:spChg chg="mod ord">
          <ac:chgData name="Birgitte Brørs" userId="S::birgibro@uio.no::8db4f421-7c16-4604-82c0-c290ce61928e" providerId="AD" clId="Web-{3C78F3C0-8E53-1F23-52F2-5AA3EFB0CCC4}" dt="2022-08-29T06:57:48.533" v="376"/>
          <ac:spMkLst>
            <pc:docMk/>
            <pc:sldMk cId="1140224310" sldId="263"/>
            <ac:spMk id="5" creationId="{7DAF6516-06B2-81EF-D73B-0E9D5D92EEFB}"/>
          </ac:spMkLst>
        </pc:spChg>
        <pc:spChg chg="mod ord">
          <ac:chgData name="Birgitte Brørs" userId="S::birgibro@uio.no::8db4f421-7c16-4604-82c0-c290ce61928e" providerId="AD" clId="Web-{3C78F3C0-8E53-1F23-52F2-5AA3EFB0CCC4}" dt="2022-08-29T06:57:48.533" v="376"/>
          <ac:spMkLst>
            <pc:docMk/>
            <pc:sldMk cId="1140224310" sldId="263"/>
            <ac:spMk id="6" creationId="{D92B5332-685E-C621-0B3E-B4F25C53B0FB}"/>
          </ac:spMkLst>
        </pc:spChg>
        <pc:spChg chg="mod ord">
          <ac:chgData name="Birgitte Brørs" userId="S::birgibro@uio.no::8db4f421-7c16-4604-82c0-c290ce61928e" providerId="AD" clId="Web-{3C78F3C0-8E53-1F23-52F2-5AA3EFB0CCC4}" dt="2022-08-29T06:57:58.159" v="404" actId="20577"/>
          <ac:spMkLst>
            <pc:docMk/>
            <pc:sldMk cId="1140224310" sldId="263"/>
            <ac:spMk id="7" creationId="{D6A094EC-D4CD-0B48-844F-84A06A55232C}"/>
          </ac:spMkLst>
        </pc:spChg>
        <pc:spChg chg="mod ord">
          <ac:chgData name="Birgitte Brørs" userId="S::birgibro@uio.no::8db4f421-7c16-4604-82c0-c290ce61928e" providerId="AD" clId="Web-{3C78F3C0-8E53-1F23-52F2-5AA3EFB0CCC4}" dt="2022-08-29T06:57:48.533" v="376"/>
          <ac:spMkLst>
            <pc:docMk/>
            <pc:sldMk cId="1140224310" sldId="263"/>
            <ac:spMk id="8" creationId="{66180666-487E-3791-84A7-B15D2527128C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9/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0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4.png"/><Relationship Id="rId7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7.png"/><Relationship Id="rId10" Type="http://schemas.openxmlformats.org/officeDocument/2006/relationships/image" Target="../media/image10.svg"/><Relationship Id="rId4" Type="http://schemas.openxmlformats.org/officeDocument/2006/relationships/image" Target="../media/image6.svg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10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/>
              <a:t>Punkt A</a:t>
            </a:r>
          </a:p>
          <a:p>
            <a:pPr lvl="0"/>
            <a:r>
              <a:rPr lang="nb-NO"/>
              <a:t>Punkt B</a:t>
            </a:r>
          </a:p>
          <a:p>
            <a:pPr lvl="0"/>
            <a:r>
              <a:rPr lang="nb-NO"/>
              <a:t>Punkt C</a:t>
            </a:r>
          </a:p>
          <a:p>
            <a:pPr lvl="0"/>
            <a:r>
              <a:rPr lang="nb-NO"/>
              <a:t>Punkt D</a:t>
            </a:r>
            <a:endParaRPr lang="en-US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A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B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C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D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E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F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Trykk - &gt; Sett inn -&gt; Bilde for å endre eller sette inn bilde</a:t>
            </a:r>
            <a:endParaRPr lang="en-US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Trykk - &gt; Sett inn -&gt; Bilde for å endre eller sette inn bilde</a:t>
            </a:r>
            <a:endParaRPr lang="en-US"/>
          </a:p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=""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uio.no/english/studies/refugees/index.html" TargetMode="Externa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ssholder for tekst 17">
            <a:extLst>
              <a:ext uri="{FF2B5EF4-FFF2-40B4-BE49-F238E27FC236}">
                <a16:creationId xmlns:a16="http://schemas.microsoft.com/office/drawing/2014/main" id="{9F40DD53-EC94-48D9-AB70-0FA1A31E639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45483" y="58615"/>
            <a:ext cx="10343114" cy="6858000"/>
          </a:xfrm>
          <a:solidFill>
            <a:srgbClr val="CEFFDF"/>
          </a:solidFill>
        </p:spPr>
        <p:txBody>
          <a:bodyPr/>
          <a:lstStyle/>
          <a:p>
            <a:endParaRPr lang="en-US"/>
          </a:p>
        </p:txBody>
      </p:sp>
      <p:sp>
        <p:nvSpPr>
          <p:cNvPr id="14" name="Plassholder for innhold 13">
            <a:extLst>
              <a:ext uri="{FF2B5EF4-FFF2-40B4-BE49-F238E27FC236}">
                <a16:creationId xmlns:a16="http://schemas.microsoft.com/office/drawing/2014/main" id="{CDA851E0-82A1-490F-A6AB-45ADB7DD1299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n-US">
                <a:solidFill>
                  <a:srgbClr val="000000"/>
                </a:solidFill>
              </a:rPr>
              <a:t>s</a:t>
            </a:r>
          </a:p>
        </p:txBody>
      </p:sp>
      <p:sp>
        <p:nvSpPr>
          <p:cNvPr id="19" name="Plassholder for tekst 18">
            <a:extLst>
              <a:ext uri="{FF2B5EF4-FFF2-40B4-BE49-F238E27FC236}">
                <a16:creationId xmlns:a16="http://schemas.microsoft.com/office/drawing/2014/main" id="{88C60644-9DD5-44F9-8E21-1FC702010A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3" name="Undertittel 12">
            <a:extLst>
              <a:ext uri="{FF2B5EF4-FFF2-40B4-BE49-F238E27FC236}">
                <a16:creationId xmlns:a16="http://schemas.microsoft.com/office/drawing/2014/main" id="{CE39F2CF-1776-4CFE-915F-2518CD90E1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3595" y="5199013"/>
            <a:ext cx="2135200" cy="269304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n-US">
                <a:solidFill>
                  <a:srgbClr val="000000"/>
                </a:solidFill>
              </a:rPr>
              <a:t>Kristin Fossum Stene</a:t>
            </a: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682A9BFA-94B4-4AF8-B122-385D96546A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63594" y="5468760"/>
            <a:ext cx="1373774" cy="269304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n-US" err="1">
                <a:solidFill>
                  <a:srgbClr val="000000"/>
                </a:solidFill>
              </a:rPr>
              <a:t>seksjonsleder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17" name="Plassholder for tekst 16">
            <a:extLst>
              <a:ext uri="{FF2B5EF4-FFF2-40B4-BE49-F238E27FC236}">
                <a16:creationId xmlns:a16="http://schemas.microsoft.com/office/drawing/2014/main" id="{29FABD25-ECD4-4918-8E97-48BFB2622D9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463594" y="5735491"/>
            <a:ext cx="1885131" cy="269304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n-US" err="1">
                <a:solidFill>
                  <a:srgbClr val="000000"/>
                </a:solidFill>
              </a:rPr>
              <a:t>Universitetet</a:t>
            </a:r>
            <a:r>
              <a:rPr lang="en-US">
                <a:solidFill>
                  <a:srgbClr val="000000"/>
                </a:solidFill>
              </a:rPr>
              <a:t> </a:t>
            </a:r>
            <a:r>
              <a:rPr lang="en-US" err="1">
                <a:solidFill>
                  <a:srgbClr val="000000"/>
                </a:solidFill>
              </a:rPr>
              <a:t>i</a:t>
            </a:r>
            <a:r>
              <a:rPr lang="en-US">
                <a:solidFill>
                  <a:srgbClr val="000000"/>
                </a:solidFill>
              </a:rPr>
              <a:t> Oslo</a:t>
            </a:r>
          </a:p>
        </p:txBody>
      </p:sp>
      <p:sp>
        <p:nvSpPr>
          <p:cNvPr id="8" name="Plassholder for dato 7">
            <a:extLst>
              <a:ext uri="{FF2B5EF4-FFF2-40B4-BE49-F238E27FC236}">
                <a16:creationId xmlns:a16="http://schemas.microsoft.com/office/drawing/2014/main" id="{C5C2902F-8809-4F52-BDEE-E6CB0C19287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3723776" cy="269304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n-US" dirty="0" err="1">
                <a:solidFill>
                  <a:srgbClr val="000000"/>
                </a:solidFill>
              </a:rPr>
              <a:t>Utdanningskomiteen</a:t>
            </a:r>
            <a:r>
              <a:rPr lang="en-US">
                <a:solidFill>
                  <a:srgbClr val="000000"/>
                </a:solidFill>
              </a:rPr>
              <a:t> </a:t>
            </a:r>
            <a:r>
              <a:rPr lang="en-US" smtClean="0">
                <a:solidFill>
                  <a:srgbClr val="000000"/>
                </a:solidFill>
              </a:rPr>
              <a:t>30. </a:t>
            </a:r>
            <a:r>
              <a:rPr lang="en-US" dirty="0">
                <a:solidFill>
                  <a:srgbClr val="000000"/>
                </a:solidFill>
              </a:rPr>
              <a:t>august 2022</a:t>
            </a:r>
          </a:p>
        </p:txBody>
      </p:sp>
      <p:sp>
        <p:nvSpPr>
          <p:cNvPr id="12" name="Tittel 11">
            <a:extLst>
              <a:ext uri="{FF2B5EF4-FFF2-40B4-BE49-F238E27FC236}">
                <a16:creationId xmlns:a16="http://schemas.microsoft.com/office/drawing/2014/main" id="{ADE2FA6D-D2C8-4611-B302-D0C2A1C5F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>
                <a:solidFill>
                  <a:srgbClr val="000000"/>
                </a:solidFill>
              </a:rPr>
              <a:t>Studietilbud</a:t>
            </a:r>
            <a:r>
              <a:rPr lang="en-US">
                <a:solidFill>
                  <a:srgbClr val="000000"/>
                </a:solidFill>
              </a:rPr>
              <a:t> for </a:t>
            </a:r>
            <a:r>
              <a:rPr lang="en-US" err="1">
                <a:solidFill>
                  <a:srgbClr val="000000"/>
                </a:solidFill>
              </a:rPr>
              <a:t>flyktninger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20" name="Plassholder for tekst 19">
            <a:extLst>
              <a:ext uri="{FF2B5EF4-FFF2-40B4-BE49-F238E27FC236}">
                <a16:creationId xmlns:a16="http://schemas.microsoft.com/office/drawing/2014/main" id="{334CD8BC-BD38-4773-B1C6-4705324E3DC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n-US">
                <a:solidFill>
                  <a:srgbClr val="000000"/>
                </a:solidFill>
              </a:rPr>
              <a:t>Status august 2022</a:t>
            </a:r>
          </a:p>
        </p:txBody>
      </p:sp>
      <p:pic>
        <p:nvPicPr>
          <p:cNvPr id="23" name="logo_" descr="UiO Segl">
            <a:extLst>
              <a:ext uri="{FF2B5EF4-FFF2-40B4-BE49-F238E27FC236}">
                <a16:creationId xmlns:a16="http://schemas.microsoft.com/office/drawing/2014/main" id="{CA90DFF0-94F0-4D47-B9D2-FFD8CF02B8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7297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tel 11">
            <a:extLst>
              <a:ext uri="{FF2B5EF4-FFF2-40B4-BE49-F238E27FC236}">
                <a16:creationId xmlns:a16="http://schemas.microsoft.com/office/drawing/2014/main" id="{78F980BD-6BC0-4073-AB94-6064F91FD1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UiOs</a:t>
            </a:r>
            <a:r>
              <a:rPr lang="en-US"/>
              <a:t> </a:t>
            </a:r>
            <a:r>
              <a:rPr lang="en-US" err="1"/>
              <a:t>studietilbud</a:t>
            </a:r>
            <a:r>
              <a:rPr lang="en-US"/>
              <a:t> for </a:t>
            </a:r>
            <a:r>
              <a:rPr lang="en-US" err="1"/>
              <a:t>flyktninger</a:t>
            </a:r>
            <a:r>
              <a:rPr lang="en-US"/>
              <a:t> – </a:t>
            </a:r>
            <a:r>
              <a:rPr lang="en-US" err="1"/>
              <a:t>kort</a:t>
            </a:r>
            <a:r>
              <a:rPr lang="en-US"/>
              <a:t> </a:t>
            </a:r>
            <a:r>
              <a:rPr lang="en-US" err="1"/>
              <a:t>oppsummering</a:t>
            </a:r>
            <a:endParaRPr lang="en-US"/>
          </a:p>
        </p:txBody>
      </p:sp>
      <p:sp>
        <p:nvSpPr>
          <p:cNvPr id="13" name="Undertittel 12">
            <a:extLst>
              <a:ext uri="{FF2B5EF4-FFF2-40B4-BE49-F238E27FC236}">
                <a16:creationId xmlns:a16="http://schemas.microsoft.com/office/drawing/2014/main" id="{5D017E94-F4AC-4290-A47E-6E7F46F3967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Plassholder for innhold 13">
            <a:extLst>
              <a:ext uri="{FF2B5EF4-FFF2-40B4-BE49-F238E27FC236}">
                <a16:creationId xmlns:a16="http://schemas.microsoft.com/office/drawing/2014/main" id="{BA6185D7-050A-40DD-BC40-EEF2939728B9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7655" indent="-287655"/>
            <a:r>
              <a:rPr lang="en-US" err="1"/>
              <a:t>UiO</a:t>
            </a:r>
            <a:r>
              <a:rPr lang="en-US"/>
              <a:t> </a:t>
            </a:r>
            <a:r>
              <a:rPr lang="en-US" err="1"/>
              <a:t>har</a:t>
            </a:r>
            <a:r>
              <a:rPr lang="en-US"/>
              <a:t> </a:t>
            </a:r>
            <a:r>
              <a:rPr lang="en-US" err="1"/>
              <a:t>fått</a:t>
            </a:r>
            <a:r>
              <a:rPr lang="en-US"/>
              <a:t> 100 4-årige </a:t>
            </a:r>
            <a:r>
              <a:rPr lang="en-US" err="1"/>
              <a:t>studieplasser</a:t>
            </a:r>
            <a:r>
              <a:rPr lang="en-US"/>
              <a:t> </a:t>
            </a:r>
            <a:r>
              <a:rPr lang="en-US" err="1"/>
              <a:t>fra</a:t>
            </a:r>
            <a:r>
              <a:rPr lang="en-US"/>
              <a:t> KD </a:t>
            </a:r>
            <a:r>
              <a:rPr lang="en-US" err="1"/>
              <a:t>forbeholdt</a:t>
            </a:r>
            <a:r>
              <a:rPr lang="en-US"/>
              <a:t> </a:t>
            </a:r>
            <a:r>
              <a:rPr lang="en-US" err="1"/>
              <a:t>flyktninger</a:t>
            </a:r>
            <a:endParaRPr lang="en-US">
              <a:cs typeface="Arial"/>
            </a:endParaRPr>
          </a:p>
          <a:p>
            <a:pPr marL="287655" indent="-287655"/>
            <a:r>
              <a:rPr lang="en-US" err="1"/>
              <a:t>Målgruppen</a:t>
            </a:r>
            <a:r>
              <a:rPr lang="en-US"/>
              <a:t> </a:t>
            </a:r>
            <a:r>
              <a:rPr lang="en-US" err="1"/>
              <a:t>ble</a:t>
            </a:r>
            <a:r>
              <a:rPr lang="en-US"/>
              <a:t> </a:t>
            </a:r>
            <a:r>
              <a:rPr lang="en-US" err="1"/>
              <a:t>etterhvert</a:t>
            </a:r>
            <a:r>
              <a:rPr lang="en-US"/>
              <a:t> </a:t>
            </a:r>
            <a:r>
              <a:rPr lang="en-US" err="1"/>
              <a:t>presisert</a:t>
            </a:r>
            <a:r>
              <a:rPr lang="en-US"/>
              <a:t> å </a:t>
            </a:r>
            <a:r>
              <a:rPr lang="en-US" err="1"/>
              <a:t>være</a:t>
            </a:r>
            <a:r>
              <a:rPr lang="en-US"/>
              <a:t> </a:t>
            </a:r>
            <a:r>
              <a:rPr lang="en-US" err="1"/>
              <a:t>personer</a:t>
            </a:r>
            <a:r>
              <a:rPr lang="en-US"/>
              <a:t> med </a:t>
            </a:r>
            <a:r>
              <a:rPr lang="en-US" err="1"/>
              <a:t>oppholdstillatelse</a:t>
            </a:r>
            <a:r>
              <a:rPr lang="en-US"/>
              <a:t> </a:t>
            </a:r>
            <a:r>
              <a:rPr lang="en-US" err="1"/>
              <a:t>etter</a:t>
            </a:r>
            <a:r>
              <a:rPr lang="en-US"/>
              <a:t> </a:t>
            </a:r>
            <a:r>
              <a:rPr lang="en-US" err="1"/>
              <a:t>utledningsloven</a:t>
            </a:r>
            <a:r>
              <a:rPr lang="en-US"/>
              <a:t> </a:t>
            </a:r>
            <a:r>
              <a:rPr lang="en-US" err="1"/>
              <a:t>kap</a:t>
            </a:r>
            <a:r>
              <a:rPr lang="en-US"/>
              <a:t>. 4 om </a:t>
            </a:r>
            <a:r>
              <a:rPr lang="en-US" err="1"/>
              <a:t>beskyttelse</a:t>
            </a:r>
            <a:r>
              <a:rPr lang="en-US"/>
              <a:t> </a:t>
            </a:r>
            <a:endParaRPr lang="en-US">
              <a:cs typeface="Arial"/>
            </a:endParaRPr>
          </a:p>
          <a:p>
            <a:pPr marL="287655" indent="-287655"/>
            <a:r>
              <a:rPr lang="en-US" err="1"/>
              <a:t>UiO</a:t>
            </a:r>
            <a:r>
              <a:rPr lang="en-US"/>
              <a:t> </a:t>
            </a:r>
            <a:r>
              <a:rPr lang="en-US" err="1"/>
              <a:t>iverksatte</a:t>
            </a:r>
            <a:r>
              <a:rPr lang="en-US"/>
              <a:t> </a:t>
            </a:r>
            <a:r>
              <a:rPr lang="en-US" err="1"/>
              <a:t>følgende</a:t>
            </a:r>
            <a:r>
              <a:rPr lang="en-US"/>
              <a:t> </a:t>
            </a:r>
            <a:r>
              <a:rPr lang="en-US">
                <a:hlinkClick r:id="rId2"/>
              </a:rPr>
              <a:t>studietilbud for flyktninger</a:t>
            </a:r>
            <a:r>
              <a:rPr lang="en-US"/>
              <a:t> </a:t>
            </a:r>
            <a:r>
              <a:rPr lang="en-US" err="1"/>
              <a:t>fra</a:t>
            </a:r>
            <a:r>
              <a:rPr lang="en-US"/>
              <a:t> </a:t>
            </a:r>
            <a:r>
              <a:rPr lang="en-US" err="1"/>
              <a:t>høsten</a:t>
            </a:r>
            <a:r>
              <a:rPr lang="en-US"/>
              <a:t> 2022:</a:t>
            </a:r>
            <a:endParaRPr lang="en-US">
              <a:cs typeface="Arial"/>
            </a:endParaRPr>
          </a:p>
          <a:p>
            <a:pPr marL="685800" lvl="1" indent="-228600"/>
            <a:r>
              <a:rPr lang="en-US"/>
              <a:t>FLYKORT - 4 </a:t>
            </a:r>
            <a:r>
              <a:rPr lang="en-US" err="1"/>
              <a:t>årsenheter</a:t>
            </a:r>
            <a:r>
              <a:rPr lang="en-US"/>
              <a:t> </a:t>
            </a:r>
            <a:r>
              <a:rPr lang="en-US" err="1"/>
              <a:t>som</a:t>
            </a:r>
            <a:r>
              <a:rPr lang="en-US"/>
              <a:t> </a:t>
            </a:r>
            <a:r>
              <a:rPr lang="en-US" err="1"/>
              <a:t>gir</a:t>
            </a:r>
            <a:r>
              <a:rPr lang="en-US"/>
              <a:t> </a:t>
            </a:r>
            <a:r>
              <a:rPr lang="en-US" err="1"/>
              <a:t>en</a:t>
            </a:r>
            <a:r>
              <a:rPr lang="en-US"/>
              <a:t> </a:t>
            </a:r>
            <a:r>
              <a:rPr lang="en-US" err="1"/>
              <a:t>innramming</a:t>
            </a:r>
            <a:r>
              <a:rPr lang="en-US"/>
              <a:t> av det </a:t>
            </a:r>
            <a:r>
              <a:rPr lang="en-US" err="1"/>
              <a:t>engelskspråklige</a:t>
            </a:r>
            <a:r>
              <a:rPr lang="en-US"/>
              <a:t> </a:t>
            </a:r>
            <a:r>
              <a:rPr lang="en-US" err="1"/>
              <a:t>emnetilbudet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en-US"/>
              <a:t> bachelor- </a:t>
            </a:r>
            <a:r>
              <a:rPr lang="en-US" err="1"/>
              <a:t>og</a:t>
            </a:r>
            <a:r>
              <a:rPr lang="en-US"/>
              <a:t> </a:t>
            </a:r>
            <a:r>
              <a:rPr lang="en-US" err="1"/>
              <a:t>masternivå</a:t>
            </a:r>
            <a:r>
              <a:rPr lang="en-US"/>
              <a:t>, </a:t>
            </a:r>
            <a:r>
              <a:rPr lang="en-US" err="1"/>
              <a:t>inkludert</a:t>
            </a:r>
            <a:r>
              <a:rPr lang="en-US"/>
              <a:t> </a:t>
            </a:r>
            <a:r>
              <a:rPr lang="en-US" err="1"/>
              <a:t>norskkurs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en-US"/>
              <a:t> HF/ILN </a:t>
            </a:r>
            <a:endParaRPr lang="en-US">
              <a:cs typeface="Arial"/>
            </a:endParaRPr>
          </a:p>
          <a:p>
            <a:pPr marL="685800" lvl="1" indent="-228600"/>
            <a:r>
              <a:rPr lang="en-US"/>
              <a:t>FLYMASTER - 78 </a:t>
            </a:r>
            <a:r>
              <a:rPr lang="en-US" err="1"/>
              <a:t>engelskspråklige</a:t>
            </a:r>
            <a:r>
              <a:rPr lang="en-US"/>
              <a:t> </a:t>
            </a:r>
            <a:r>
              <a:rPr lang="en-US" err="1"/>
              <a:t>søknadsalternativer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en-US"/>
              <a:t> </a:t>
            </a:r>
            <a:r>
              <a:rPr lang="en-US" err="1"/>
              <a:t>masterprogram</a:t>
            </a:r>
            <a:endParaRPr lang="en-US">
              <a:cs typeface="Arial"/>
            </a:endParaRPr>
          </a:p>
          <a:p>
            <a:pPr marL="685800" lvl="1" indent="-228600"/>
            <a:r>
              <a:rPr lang="en-US"/>
              <a:t>Korte, </a:t>
            </a:r>
            <a:r>
              <a:rPr lang="en-US" err="1"/>
              <a:t>ikke-studiepoenggivende</a:t>
            </a:r>
            <a:r>
              <a:rPr lang="en-US"/>
              <a:t> </a:t>
            </a:r>
            <a:r>
              <a:rPr lang="en-US" err="1"/>
              <a:t>norskkurs</a:t>
            </a:r>
            <a:r>
              <a:rPr lang="en-US"/>
              <a:t> </a:t>
            </a:r>
            <a:r>
              <a:rPr lang="en-US" err="1"/>
              <a:t>ved</a:t>
            </a:r>
            <a:r>
              <a:rPr lang="en-US"/>
              <a:t> Den </a:t>
            </a:r>
            <a:r>
              <a:rPr lang="en-US" err="1"/>
              <a:t>internasjonale</a:t>
            </a:r>
            <a:r>
              <a:rPr lang="en-US"/>
              <a:t> </a:t>
            </a:r>
            <a:r>
              <a:rPr lang="en-US" err="1"/>
              <a:t>sommerskole</a:t>
            </a:r>
            <a:r>
              <a:rPr lang="en-US"/>
              <a:t> (Etter </a:t>
            </a:r>
            <a:r>
              <a:rPr lang="en-US" err="1"/>
              <a:t>modell</a:t>
            </a:r>
            <a:r>
              <a:rPr lang="en-US"/>
              <a:t> </a:t>
            </a:r>
            <a:r>
              <a:rPr lang="en-US" err="1"/>
              <a:t>fra</a:t>
            </a:r>
            <a:r>
              <a:rPr lang="en-US"/>
              <a:t> NORIR – Short Norwegian courses for researchers)</a:t>
            </a:r>
            <a:endParaRPr lang="en-US">
              <a:cs typeface="Arial"/>
            </a:endParaRPr>
          </a:p>
          <a:p>
            <a:pPr marL="287655" indent="-287655"/>
            <a:r>
              <a:rPr lang="en-US" err="1"/>
              <a:t>Stor</a:t>
            </a:r>
            <a:r>
              <a:rPr lang="en-US"/>
              <a:t> </a:t>
            </a:r>
            <a:r>
              <a:rPr lang="en-US" err="1"/>
              <a:t>vilje</a:t>
            </a:r>
            <a:r>
              <a:rPr lang="en-US"/>
              <a:t> </a:t>
            </a:r>
            <a:r>
              <a:rPr lang="en-US" err="1"/>
              <a:t>og</a:t>
            </a:r>
            <a:r>
              <a:rPr lang="en-US"/>
              <a:t> </a:t>
            </a:r>
            <a:r>
              <a:rPr lang="en-US" err="1"/>
              <a:t>innsats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hele </a:t>
            </a:r>
            <a:r>
              <a:rPr lang="en-US" err="1"/>
              <a:t>organisasjonen</a:t>
            </a:r>
            <a:r>
              <a:rPr lang="en-US"/>
              <a:t> for å </a:t>
            </a:r>
            <a:r>
              <a:rPr lang="en-US" err="1"/>
              <a:t>få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en-US"/>
              <a:t> </a:t>
            </a:r>
            <a:r>
              <a:rPr lang="en-US" err="1"/>
              <a:t>plass</a:t>
            </a:r>
            <a:r>
              <a:rPr lang="en-US"/>
              <a:t> et </a:t>
            </a:r>
            <a:r>
              <a:rPr lang="en-US" err="1"/>
              <a:t>godt</a:t>
            </a:r>
            <a:r>
              <a:rPr lang="en-US"/>
              <a:t> </a:t>
            </a:r>
            <a:r>
              <a:rPr lang="en-US" err="1"/>
              <a:t>og</a:t>
            </a:r>
            <a:r>
              <a:rPr lang="en-US"/>
              <a:t> </a:t>
            </a:r>
            <a:r>
              <a:rPr lang="en-US" err="1"/>
              <a:t>kvalitetssikret</a:t>
            </a:r>
            <a:r>
              <a:rPr lang="en-US"/>
              <a:t> </a:t>
            </a:r>
            <a:r>
              <a:rPr lang="en-US" err="1"/>
              <a:t>tilbud</a:t>
            </a:r>
            <a:r>
              <a:rPr lang="en-US"/>
              <a:t> </a:t>
            </a:r>
            <a:r>
              <a:rPr lang="en-US" err="1"/>
              <a:t>til</a:t>
            </a:r>
            <a:r>
              <a:rPr lang="en-US"/>
              <a:t> </a:t>
            </a:r>
            <a:r>
              <a:rPr lang="en-US" err="1"/>
              <a:t>denne</a:t>
            </a:r>
            <a:r>
              <a:rPr lang="en-US"/>
              <a:t> </a:t>
            </a:r>
            <a:r>
              <a:rPr lang="en-US" err="1"/>
              <a:t>studentgruppen</a:t>
            </a:r>
            <a:r>
              <a:rPr lang="en-US"/>
              <a:t>!</a:t>
            </a:r>
            <a:endParaRPr lang="en-US">
              <a:cs typeface="Arial"/>
            </a:endParaRPr>
          </a:p>
          <a:p>
            <a:pPr marL="685800" lvl="1" indent="-228600"/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449044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 descr="Et bilde som inneholder bord&#10;&#10;Automatisk generert beskrivelse">
            <a:extLst>
              <a:ext uri="{FF2B5EF4-FFF2-40B4-BE49-F238E27FC236}">
                <a16:creationId xmlns:a16="http://schemas.microsoft.com/office/drawing/2014/main" id="{0422CED4-2233-461E-A782-398039C0100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45" y="1843523"/>
            <a:ext cx="5489213" cy="4129053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E12464E-C955-09EC-F1A7-E9F54247044D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/>
          <a:p>
            <a:endParaRPr lang="en-US"/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3319C7DC-3925-480E-88E1-87702E5A9D2D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0142" cy="4909180"/>
          </a:xfrm>
        </p:spPr>
        <p:txBody>
          <a:bodyPr vert="horz" lIns="0" tIns="0" rIns="0" bIns="0" rtlCol="0" anchor="t">
            <a:normAutofit lnSpcReduction="10000"/>
          </a:bodyPr>
          <a:lstStyle/>
          <a:p>
            <a:pPr marL="287655" indent="-287655">
              <a:lnSpc>
                <a:spcPct val="90000"/>
              </a:lnSpc>
            </a:pPr>
            <a:r>
              <a:rPr lang="nb-NO" sz="2200" dirty="0">
                <a:cs typeface="Arial"/>
              </a:rPr>
              <a:t>En stor andel av de totalt 43 søkerne er i gang med, eller har fullført, høyere utdanning i hjemlandet.</a:t>
            </a:r>
            <a:endParaRPr lang="en-US" dirty="0"/>
          </a:p>
          <a:p>
            <a:pPr marL="287655" indent="-287655">
              <a:lnSpc>
                <a:spcPct val="90000"/>
              </a:lnSpc>
            </a:pPr>
            <a:r>
              <a:rPr lang="en-US" sz="2200" dirty="0" err="1">
                <a:cs typeface="Arial"/>
              </a:rPr>
              <a:t>UiO</a:t>
            </a:r>
            <a:r>
              <a:rPr lang="en-US" sz="2200" dirty="0">
                <a:cs typeface="Arial"/>
              </a:rPr>
              <a:t> </a:t>
            </a:r>
            <a:r>
              <a:rPr lang="en-US" sz="2200" dirty="0" err="1">
                <a:cs typeface="Arial"/>
              </a:rPr>
              <a:t>har</a:t>
            </a:r>
            <a:r>
              <a:rPr lang="en-US" sz="2200" dirty="0">
                <a:cs typeface="Arial"/>
              </a:rPr>
              <a:t> </a:t>
            </a:r>
            <a:r>
              <a:rPr lang="en-US" sz="2200" dirty="0" err="1">
                <a:cs typeface="Arial"/>
              </a:rPr>
              <a:t>finansiert</a:t>
            </a:r>
            <a:r>
              <a:rPr lang="en-US" sz="2200" dirty="0">
                <a:cs typeface="Arial"/>
              </a:rPr>
              <a:t> </a:t>
            </a:r>
            <a:r>
              <a:rPr lang="en-US" sz="2200" dirty="0" err="1">
                <a:cs typeface="Arial"/>
              </a:rPr>
              <a:t>oversettelse</a:t>
            </a:r>
            <a:r>
              <a:rPr lang="en-US" sz="2200" dirty="0">
                <a:cs typeface="Arial"/>
              </a:rPr>
              <a:t> av </a:t>
            </a:r>
            <a:r>
              <a:rPr lang="en-US" sz="2200" dirty="0" err="1">
                <a:cs typeface="Arial"/>
              </a:rPr>
              <a:t>utdanningsdokumenter</a:t>
            </a:r>
            <a:r>
              <a:rPr lang="en-US" sz="2200" dirty="0">
                <a:cs typeface="Arial"/>
              </a:rPr>
              <a:t> der det </a:t>
            </a:r>
            <a:r>
              <a:rPr lang="en-US" sz="2200" dirty="0" err="1">
                <a:cs typeface="Arial"/>
              </a:rPr>
              <a:t>har</a:t>
            </a:r>
            <a:r>
              <a:rPr lang="en-US" sz="2200" dirty="0">
                <a:cs typeface="Arial"/>
              </a:rPr>
              <a:t> </a:t>
            </a:r>
            <a:r>
              <a:rPr lang="en-US" sz="2200" dirty="0" err="1">
                <a:cs typeface="Arial"/>
              </a:rPr>
              <a:t>vært</a:t>
            </a:r>
            <a:r>
              <a:rPr lang="en-US" sz="2200" dirty="0">
                <a:cs typeface="Arial"/>
              </a:rPr>
              <a:t> </a:t>
            </a:r>
            <a:r>
              <a:rPr lang="en-US" sz="2200" dirty="0" err="1">
                <a:cs typeface="Arial"/>
              </a:rPr>
              <a:t>nødvendig</a:t>
            </a:r>
            <a:r>
              <a:rPr lang="en-US" sz="2200" dirty="0">
                <a:cs typeface="Arial"/>
              </a:rPr>
              <a:t> for </a:t>
            </a:r>
            <a:r>
              <a:rPr lang="en-US" sz="2200" dirty="0" err="1">
                <a:cs typeface="Arial"/>
              </a:rPr>
              <a:t>saksbehandlingen</a:t>
            </a:r>
            <a:r>
              <a:rPr lang="en-US" sz="2200" dirty="0">
                <a:cs typeface="Arial"/>
              </a:rPr>
              <a:t>.</a:t>
            </a:r>
          </a:p>
          <a:p>
            <a:pPr marL="287655" indent="-287655">
              <a:lnSpc>
                <a:spcPct val="90000"/>
              </a:lnSpc>
            </a:pPr>
            <a:r>
              <a:rPr lang="en-US" sz="2200" dirty="0" err="1">
                <a:cs typeface="Arial"/>
              </a:rPr>
              <a:t>Søkere</a:t>
            </a:r>
            <a:r>
              <a:rPr lang="en-US" sz="2200" dirty="0">
                <a:cs typeface="Arial"/>
              </a:rPr>
              <a:t> </a:t>
            </a:r>
            <a:r>
              <a:rPr lang="en-US" sz="2200" dirty="0" err="1">
                <a:cs typeface="Arial"/>
              </a:rPr>
              <a:t>har</a:t>
            </a:r>
            <a:r>
              <a:rPr lang="en-US" sz="2200" dirty="0">
                <a:cs typeface="Arial"/>
              </a:rPr>
              <a:t> </a:t>
            </a:r>
            <a:r>
              <a:rPr lang="en-US" sz="2200" dirty="0" err="1">
                <a:cs typeface="Arial"/>
              </a:rPr>
              <a:t>hatt</a:t>
            </a:r>
            <a:r>
              <a:rPr lang="en-US" sz="2200" dirty="0">
                <a:cs typeface="Arial"/>
              </a:rPr>
              <a:t> </a:t>
            </a:r>
            <a:r>
              <a:rPr lang="en-US" sz="2200" dirty="0" err="1">
                <a:cs typeface="Arial"/>
              </a:rPr>
              <a:t>mulighet</a:t>
            </a:r>
            <a:r>
              <a:rPr lang="en-US" sz="2200" dirty="0">
                <a:cs typeface="Arial"/>
              </a:rPr>
              <a:t> </a:t>
            </a:r>
            <a:r>
              <a:rPr lang="en-US" sz="2200" dirty="0" err="1">
                <a:cs typeface="Arial"/>
              </a:rPr>
              <a:t>til</a:t>
            </a:r>
            <a:r>
              <a:rPr lang="en-US" sz="2200" dirty="0">
                <a:cs typeface="Arial"/>
              </a:rPr>
              <a:t> å </a:t>
            </a:r>
            <a:r>
              <a:rPr lang="en-US" sz="2200" dirty="0" err="1">
                <a:cs typeface="Arial"/>
              </a:rPr>
              <a:t>dekke</a:t>
            </a:r>
            <a:r>
              <a:rPr lang="en-US" sz="2200" dirty="0">
                <a:cs typeface="Arial"/>
              </a:rPr>
              <a:t> </a:t>
            </a:r>
            <a:r>
              <a:rPr lang="en-US" sz="2200" dirty="0" err="1">
                <a:cs typeface="Arial"/>
              </a:rPr>
              <a:t>språkkrav</a:t>
            </a:r>
            <a:r>
              <a:rPr lang="en-US" sz="2200" dirty="0">
                <a:cs typeface="Arial"/>
              </a:rPr>
              <a:t> med </a:t>
            </a:r>
            <a:r>
              <a:rPr lang="en-US" sz="2200" dirty="0" err="1">
                <a:cs typeface="Arial"/>
              </a:rPr>
              <a:t>engelsktester</a:t>
            </a:r>
            <a:r>
              <a:rPr lang="en-US" sz="2200" dirty="0">
                <a:cs typeface="Arial"/>
              </a:rPr>
              <a:t> </a:t>
            </a:r>
            <a:r>
              <a:rPr lang="en-US" sz="2200" dirty="0" err="1">
                <a:cs typeface="Arial"/>
              </a:rPr>
              <a:t>finansiert</a:t>
            </a:r>
            <a:r>
              <a:rPr lang="en-US" sz="2200" dirty="0">
                <a:cs typeface="Arial"/>
              </a:rPr>
              <a:t> av </a:t>
            </a:r>
            <a:r>
              <a:rPr lang="en-US" sz="2200" dirty="0" err="1">
                <a:cs typeface="Arial"/>
              </a:rPr>
              <a:t>UiO</a:t>
            </a:r>
            <a:r>
              <a:rPr lang="en-US" sz="2200" dirty="0">
                <a:cs typeface="Arial"/>
              </a:rPr>
              <a:t>. I </a:t>
            </a:r>
            <a:r>
              <a:rPr lang="en-US" sz="2200" dirty="0" err="1">
                <a:cs typeface="Arial"/>
              </a:rPr>
              <a:t>tillegg</a:t>
            </a:r>
            <a:r>
              <a:rPr lang="en-US" sz="2200" dirty="0">
                <a:cs typeface="Arial"/>
              </a:rPr>
              <a:t> </a:t>
            </a:r>
            <a:r>
              <a:rPr lang="en-US" sz="2200" dirty="0" err="1">
                <a:ea typeface="+mn-lt"/>
                <a:cs typeface="+mn-lt"/>
              </a:rPr>
              <a:t>finansierte</a:t>
            </a:r>
            <a:r>
              <a:rPr lang="en-US" sz="2200" dirty="0">
                <a:ea typeface="+mn-lt"/>
                <a:cs typeface="+mn-lt"/>
              </a:rPr>
              <a:t> </a:t>
            </a:r>
            <a:r>
              <a:rPr lang="en-US" sz="2200" dirty="0" err="1">
                <a:cs typeface="Arial"/>
              </a:rPr>
              <a:t>testtilbyder</a:t>
            </a:r>
            <a:r>
              <a:rPr lang="en-US" sz="2200" dirty="0">
                <a:cs typeface="Arial"/>
              </a:rPr>
              <a:t> 5 tester.</a:t>
            </a:r>
          </a:p>
          <a:p>
            <a:pPr marL="685800" lvl="1" indent="-228600">
              <a:lnSpc>
                <a:spcPct val="90000"/>
              </a:lnSpc>
            </a:pPr>
            <a:r>
              <a:rPr lang="en-US" sz="1800" dirty="0">
                <a:cs typeface="Arial"/>
              </a:rPr>
              <a:t>20 </a:t>
            </a:r>
            <a:r>
              <a:rPr lang="en-US" sz="1800" dirty="0" err="1">
                <a:cs typeface="Arial"/>
              </a:rPr>
              <a:t>har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fått</a:t>
            </a:r>
            <a:r>
              <a:rPr lang="en-US" sz="1800" dirty="0">
                <a:cs typeface="Arial"/>
              </a:rPr>
              <a:t> test, 10 </a:t>
            </a:r>
            <a:r>
              <a:rPr lang="en-US" sz="1800" dirty="0" err="1">
                <a:cs typeface="Arial"/>
              </a:rPr>
              <a:t>har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bestått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krav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til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opptak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på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årsenhet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på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bachelornivå</a:t>
            </a:r>
            <a:r>
              <a:rPr lang="en-US" sz="1800" dirty="0">
                <a:cs typeface="Arial"/>
              </a:rPr>
              <a:t>, 2 </a:t>
            </a:r>
            <a:r>
              <a:rPr lang="en-US" sz="1800" dirty="0" err="1">
                <a:cs typeface="Arial"/>
              </a:rPr>
              <a:t>har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bestått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krav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til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ea typeface="+mn-lt"/>
                <a:cs typeface="+mn-lt"/>
              </a:rPr>
              <a:t>opptak</a:t>
            </a:r>
            <a:r>
              <a:rPr lang="en-US" sz="1800" dirty="0">
                <a:ea typeface="+mn-lt"/>
                <a:cs typeface="+mn-lt"/>
              </a:rPr>
              <a:t> </a:t>
            </a:r>
            <a:r>
              <a:rPr lang="en-US" sz="1800" dirty="0" err="1">
                <a:ea typeface="+mn-lt"/>
                <a:cs typeface="+mn-lt"/>
              </a:rPr>
              <a:t>på</a:t>
            </a:r>
            <a:r>
              <a:rPr lang="en-US" sz="1800" dirty="0">
                <a:ea typeface="+mn-lt"/>
                <a:cs typeface="+mn-lt"/>
              </a:rPr>
              <a:t> </a:t>
            </a:r>
            <a:r>
              <a:rPr lang="en-US" sz="1800" dirty="0" err="1">
                <a:ea typeface="+mn-lt"/>
                <a:cs typeface="+mn-lt"/>
              </a:rPr>
              <a:t>årsenhet</a:t>
            </a:r>
            <a:r>
              <a:rPr lang="en-US" sz="1800" dirty="0">
                <a:ea typeface="+mn-lt"/>
                <a:cs typeface="+mn-lt"/>
              </a:rPr>
              <a:t> </a:t>
            </a:r>
            <a:r>
              <a:rPr lang="en-US" sz="1800" dirty="0" err="1">
                <a:ea typeface="+mn-lt"/>
                <a:cs typeface="+mn-lt"/>
              </a:rPr>
              <a:t>på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masternivå</a:t>
            </a:r>
            <a:r>
              <a:rPr lang="en-US" sz="1800" dirty="0">
                <a:cs typeface="Arial"/>
              </a:rPr>
              <a:t>.</a:t>
            </a:r>
          </a:p>
          <a:p>
            <a:pPr marL="685800" lvl="1" indent="-228600">
              <a:lnSpc>
                <a:spcPct val="90000"/>
              </a:lnSpc>
            </a:pPr>
            <a:r>
              <a:rPr lang="en-US" sz="1800" dirty="0" err="1">
                <a:cs typeface="Arial"/>
              </a:rPr>
              <a:t>Søkere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som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ikke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dekket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engelskkrav</a:t>
            </a:r>
            <a:r>
              <a:rPr lang="en-US" sz="1800" dirty="0">
                <a:cs typeface="Arial"/>
              </a:rPr>
              <a:t> for </a:t>
            </a:r>
            <a:r>
              <a:rPr lang="en-US" sz="1800" dirty="0" err="1">
                <a:cs typeface="Arial"/>
              </a:rPr>
              <a:t>opptak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på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masternivå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fikk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tilbud</a:t>
            </a:r>
            <a:r>
              <a:rPr lang="en-US" sz="1800" dirty="0">
                <a:cs typeface="Arial"/>
              </a:rPr>
              <a:t> om å </a:t>
            </a:r>
            <a:r>
              <a:rPr lang="en-US" sz="1800" dirty="0" err="1">
                <a:cs typeface="Arial"/>
              </a:rPr>
              <a:t>endre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søknaden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til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årsenhet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på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bachelornivå</a:t>
            </a:r>
            <a:r>
              <a:rPr lang="en-US" sz="1800" dirty="0">
                <a:cs typeface="Arial"/>
              </a:rPr>
              <a:t>.</a:t>
            </a:r>
          </a:p>
          <a:p>
            <a:pPr marL="457200" lvl="1" indent="0">
              <a:lnSpc>
                <a:spcPct val="90000"/>
              </a:lnSpc>
              <a:buNone/>
            </a:pPr>
            <a:endParaRPr lang="en-US" sz="1800">
              <a:cs typeface="Arial"/>
            </a:endParaRP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2644CB8E-A983-EAE8-7E46-58F240255844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7B3D9BD-DEEA-405E-BAD9-14F16F6282DB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dirty="0" smtClean="0"/>
              <a:pPr>
                <a:spcAft>
                  <a:spcPts val="600"/>
                </a:spcAft>
              </a:pPr>
              <a:t>3</a:t>
            </a:fld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1FACB539-2E62-4426-A240-817F54E224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en-US" err="1"/>
              <a:t>Litt</a:t>
            </a:r>
            <a:r>
              <a:rPr lang="en-US"/>
              <a:t> om </a:t>
            </a:r>
            <a:r>
              <a:rPr lang="en-US" err="1"/>
              <a:t>søkerne</a:t>
            </a:r>
            <a:endParaRPr lang="en-US"/>
          </a:p>
        </p:txBody>
      </p:sp>
      <p:sp>
        <p:nvSpPr>
          <p:cNvPr id="21" name="Subtitle 7">
            <a:extLst>
              <a:ext uri="{FF2B5EF4-FFF2-40B4-BE49-F238E27FC236}">
                <a16:creationId xmlns:a16="http://schemas.microsoft.com/office/drawing/2014/main" id="{5C3D836F-A62E-2CF0-D827-6BA114210E6F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06766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2D7E4CA-2478-4764-9D96-099EF04D39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dirty="0" smtClean="0"/>
              <a:pPr/>
              <a:t>4</a:t>
            </a:fld>
            <a:endParaRPr lang="en-US"/>
          </a:p>
        </p:txBody>
      </p:sp>
      <p:pic>
        <p:nvPicPr>
          <p:cNvPr id="17" name="Picture 17">
            <a:extLst>
              <a:ext uri="{FF2B5EF4-FFF2-40B4-BE49-F238E27FC236}">
                <a16:creationId xmlns:a16="http://schemas.microsoft.com/office/drawing/2014/main" id="{2A146875-56BB-9B1F-E597-866D2100E70F}"/>
              </a:ext>
            </a:extLst>
          </p:cNvPr>
          <p:cNvPicPr>
            <a:picLocks noGrp="1" noChangeAspect="1"/>
          </p:cNvPicPr>
          <p:nvPr>
            <p:ph sz="quarter" idx="30"/>
          </p:nvPr>
        </p:nvPicPr>
        <p:blipFill>
          <a:blip r:embed="rId2"/>
          <a:stretch>
            <a:fillRect/>
          </a:stretch>
        </p:blipFill>
        <p:spPr>
          <a:xfrm>
            <a:off x="-1332" y="-1494"/>
            <a:ext cx="8206995" cy="6819747"/>
          </a:xfr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9C9C6C5E-47D9-706C-9489-2C39AF6CF14A}"/>
              </a:ext>
            </a:extLst>
          </p:cNvPr>
          <p:cNvSpPr txBox="1"/>
          <p:nvPr/>
        </p:nvSpPr>
        <p:spPr>
          <a:xfrm>
            <a:off x="8396287" y="704850"/>
            <a:ext cx="3795712" cy="529375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2400" dirty="0">
                <a:ea typeface="+mn-lt"/>
                <a:cs typeface="+mn-lt"/>
              </a:rPr>
              <a:t>Samlet er om lag 1/3 av </a:t>
            </a:r>
            <a:r>
              <a:rPr lang="en-US" sz="2400" dirty="0" err="1">
                <a:ea typeface="+mn-lt"/>
                <a:cs typeface="+mn-lt"/>
              </a:rPr>
              <a:t>søkerne</a:t>
            </a:r>
            <a:r>
              <a:rPr lang="en-US" sz="2400" dirty="0">
                <a:ea typeface="+mn-lt"/>
                <a:cs typeface="+mn-lt"/>
              </a:rPr>
              <a:t> </a:t>
            </a:r>
            <a:r>
              <a:rPr lang="en-US" sz="2400" dirty="0" err="1">
                <a:ea typeface="+mn-lt"/>
                <a:cs typeface="+mn-lt"/>
              </a:rPr>
              <a:t>kvalifisert</a:t>
            </a:r>
            <a:endParaRPr lang="en-US" sz="2400" dirty="0"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US" sz="2400" dirty="0">
                <a:cs typeface="Arial"/>
              </a:rPr>
              <a:t>12 av 26 </a:t>
            </a:r>
            <a:r>
              <a:rPr lang="en-US" sz="2400" dirty="0" err="1">
                <a:cs typeface="Arial"/>
              </a:rPr>
              <a:t>søkere</a:t>
            </a:r>
            <a:r>
              <a:rPr lang="en-US" sz="2400" dirty="0">
                <a:cs typeface="Arial"/>
              </a:rPr>
              <a:t> </a:t>
            </a:r>
            <a:r>
              <a:rPr lang="en-US" sz="2400" dirty="0" err="1">
                <a:cs typeface="Arial"/>
              </a:rPr>
              <a:t>til</a:t>
            </a:r>
            <a:r>
              <a:rPr lang="en-US" sz="2400" dirty="0">
                <a:cs typeface="Arial"/>
              </a:rPr>
              <a:t> FLYKORT er </a:t>
            </a:r>
            <a:r>
              <a:rPr lang="en-US" sz="2400" dirty="0" err="1">
                <a:cs typeface="Arial"/>
              </a:rPr>
              <a:t>kvalifiserte</a:t>
            </a:r>
            <a:r>
              <a:rPr lang="en-US" sz="2400" dirty="0">
                <a:cs typeface="Arial"/>
              </a:rPr>
              <a:t>, alle </a:t>
            </a:r>
            <a:r>
              <a:rPr lang="en-US" sz="2400" dirty="0" err="1">
                <a:cs typeface="Arial"/>
              </a:rPr>
              <a:t>takket</a:t>
            </a:r>
            <a:r>
              <a:rPr lang="en-US" sz="2400" dirty="0">
                <a:cs typeface="Arial"/>
              </a:rPr>
              <a:t> ja </a:t>
            </a:r>
            <a:r>
              <a:rPr lang="en-US" sz="2400" dirty="0" err="1">
                <a:cs typeface="Arial"/>
              </a:rPr>
              <a:t>til</a:t>
            </a:r>
            <a:r>
              <a:rPr lang="en-US" sz="2400" dirty="0">
                <a:cs typeface="Arial"/>
              </a:rPr>
              <a:t> </a:t>
            </a:r>
            <a:r>
              <a:rPr lang="en-US" sz="2400" dirty="0" err="1">
                <a:cs typeface="Arial"/>
              </a:rPr>
              <a:t>studieplass</a:t>
            </a:r>
            <a:r>
              <a:rPr lang="en-US" sz="2400" dirty="0">
                <a:cs typeface="Arial"/>
              </a:rPr>
              <a:t>. 9 av 12 </a:t>
            </a:r>
            <a:r>
              <a:rPr lang="en-US" sz="2400" dirty="0">
                <a:ea typeface="+mn-lt"/>
                <a:cs typeface="+mn-lt"/>
              </a:rPr>
              <a:t>er </a:t>
            </a:r>
            <a:r>
              <a:rPr lang="en-US" sz="2400" dirty="0" err="1">
                <a:ea typeface="+mn-lt"/>
                <a:cs typeface="+mn-lt"/>
              </a:rPr>
              <a:t>meldt</a:t>
            </a:r>
            <a:r>
              <a:rPr lang="en-US" sz="2400" dirty="0">
                <a:ea typeface="+mn-lt"/>
                <a:cs typeface="+mn-lt"/>
              </a:rPr>
              <a:t> </a:t>
            </a:r>
            <a:r>
              <a:rPr lang="en-US" sz="2400" dirty="0" err="1">
                <a:ea typeface="+mn-lt"/>
                <a:cs typeface="+mn-lt"/>
              </a:rPr>
              <a:t>til</a:t>
            </a:r>
            <a:r>
              <a:rPr lang="en-US" sz="2400" dirty="0">
                <a:ea typeface="+mn-lt"/>
                <a:cs typeface="+mn-lt"/>
              </a:rPr>
              <a:t> </a:t>
            </a:r>
            <a:r>
              <a:rPr lang="en-US" sz="2400" dirty="0" err="1">
                <a:ea typeface="+mn-lt"/>
                <a:cs typeface="+mn-lt"/>
              </a:rPr>
              <a:t>emner</a:t>
            </a:r>
            <a:r>
              <a:rPr lang="en-US" sz="2400" dirty="0">
                <a:ea typeface="+mn-lt"/>
                <a:cs typeface="+mn-lt"/>
              </a:rPr>
              <a:t> per 29.8.</a:t>
            </a:r>
            <a:endParaRPr lang="en-US" sz="2400" dirty="0"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US" sz="2400" dirty="0">
                <a:cs typeface="Arial"/>
              </a:rPr>
              <a:t>2 av 23 </a:t>
            </a:r>
            <a:r>
              <a:rPr lang="en-US" sz="2400" dirty="0" err="1">
                <a:cs typeface="Arial"/>
              </a:rPr>
              <a:t>søkere</a:t>
            </a:r>
            <a:r>
              <a:rPr lang="en-US" sz="2400" dirty="0">
                <a:cs typeface="Arial"/>
              </a:rPr>
              <a:t> </a:t>
            </a:r>
            <a:r>
              <a:rPr lang="en-US" sz="2400" dirty="0" err="1">
                <a:cs typeface="Arial"/>
              </a:rPr>
              <a:t>til</a:t>
            </a:r>
            <a:r>
              <a:rPr lang="en-US" sz="2400" dirty="0">
                <a:cs typeface="Arial"/>
              </a:rPr>
              <a:t> FLYMASTER er </a:t>
            </a:r>
            <a:r>
              <a:rPr lang="en-US" sz="2400" dirty="0" err="1">
                <a:cs typeface="Arial"/>
              </a:rPr>
              <a:t>kvalifiserte</a:t>
            </a:r>
            <a:r>
              <a:rPr lang="en-US" sz="2400" dirty="0">
                <a:cs typeface="Arial"/>
              </a:rPr>
              <a:t> </a:t>
            </a:r>
            <a:r>
              <a:rPr lang="en-US" sz="2400" dirty="0" err="1">
                <a:cs typeface="Arial"/>
              </a:rPr>
              <a:t>og</a:t>
            </a:r>
            <a:r>
              <a:rPr lang="en-US" sz="2400" dirty="0">
                <a:cs typeface="Arial"/>
              </a:rPr>
              <a:t> 1  </a:t>
            </a:r>
            <a:r>
              <a:rPr lang="en-US" sz="2400" dirty="0" err="1">
                <a:cs typeface="Arial"/>
              </a:rPr>
              <a:t>har</a:t>
            </a:r>
            <a:r>
              <a:rPr lang="en-US" sz="2400" dirty="0">
                <a:cs typeface="Arial"/>
              </a:rPr>
              <a:t> </a:t>
            </a:r>
            <a:r>
              <a:rPr lang="en-US" sz="2400" dirty="0" err="1">
                <a:cs typeface="Arial"/>
              </a:rPr>
              <a:t>takket</a:t>
            </a:r>
            <a:r>
              <a:rPr lang="en-US" sz="2400" dirty="0">
                <a:cs typeface="Arial"/>
              </a:rPr>
              <a:t> ja </a:t>
            </a:r>
            <a:r>
              <a:rPr lang="en-US" sz="2400" dirty="0" err="1">
                <a:cs typeface="Arial"/>
              </a:rPr>
              <a:t>til</a:t>
            </a:r>
            <a:r>
              <a:rPr lang="en-US" sz="2400" dirty="0">
                <a:cs typeface="Arial"/>
              </a:rPr>
              <a:t> </a:t>
            </a:r>
            <a:r>
              <a:rPr lang="en-US" sz="2400" dirty="0" err="1">
                <a:cs typeface="Arial"/>
              </a:rPr>
              <a:t>studieplass</a:t>
            </a:r>
            <a:r>
              <a:rPr lang="en-US" sz="2400" dirty="0">
                <a:cs typeface="Arial"/>
              </a:rPr>
              <a:t>.</a:t>
            </a:r>
          </a:p>
          <a:p>
            <a:pPr marL="342900" indent="-342900">
              <a:buFont typeface="Arial"/>
              <a:buChar char="•"/>
            </a:pPr>
            <a:endParaRPr lang="en-US" sz="26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204123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A87F5C4-1909-4C45-B6F8-D0935A4D8D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Hva</a:t>
            </a:r>
            <a:r>
              <a:rPr lang="en-US"/>
              <a:t> </a:t>
            </a:r>
            <a:r>
              <a:rPr lang="en-US" err="1"/>
              <a:t>skjer</a:t>
            </a:r>
            <a:r>
              <a:rPr lang="en-US"/>
              <a:t> </a:t>
            </a:r>
            <a:r>
              <a:rPr lang="en-US" err="1"/>
              <a:t>videre</a:t>
            </a:r>
            <a:r>
              <a:rPr lang="en-US"/>
              <a:t>?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1CF8145D-AC6D-4A99-8F1E-A5A241CB07E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524CE9E2-3CE3-4C4A-98FD-4E2542CE1C07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en-US"/>
              <a:t>Studieavdelingen </a:t>
            </a:r>
            <a:r>
              <a:rPr lang="en-US" err="1"/>
              <a:t>vil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</a:t>
            </a:r>
            <a:r>
              <a:rPr lang="en-US" err="1"/>
              <a:t>samråd</a:t>
            </a:r>
            <a:r>
              <a:rPr lang="en-US"/>
              <a:t> med VØS </a:t>
            </a:r>
            <a:r>
              <a:rPr lang="en-US" err="1"/>
              <a:t>fremme</a:t>
            </a:r>
            <a:r>
              <a:rPr lang="en-US"/>
              <a:t> </a:t>
            </a:r>
            <a:r>
              <a:rPr lang="en-US" err="1"/>
              <a:t>rektorfullmaktssak</a:t>
            </a:r>
            <a:r>
              <a:rPr lang="en-US"/>
              <a:t> om </a:t>
            </a:r>
            <a:r>
              <a:rPr lang="en-US" err="1"/>
              <a:t>fordeling</a:t>
            </a:r>
            <a:r>
              <a:rPr lang="en-US"/>
              <a:t> av de </a:t>
            </a:r>
            <a:r>
              <a:rPr lang="en-US" err="1"/>
              <a:t>tildelte</a:t>
            </a:r>
            <a:r>
              <a:rPr lang="en-US"/>
              <a:t> </a:t>
            </a:r>
            <a:r>
              <a:rPr lang="en-US" err="1"/>
              <a:t>studieplassmidlene</a:t>
            </a:r>
            <a:r>
              <a:rPr lang="en-US"/>
              <a:t> for H22 </a:t>
            </a:r>
          </a:p>
          <a:p>
            <a:pPr lvl="1"/>
            <a:r>
              <a:rPr lang="en-US" err="1"/>
              <a:t>Midlene</a:t>
            </a:r>
            <a:r>
              <a:rPr lang="en-US"/>
              <a:t> </a:t>
            </a:r>
            <a:r>
              <a:rPr lang="en-US" err="1"/>
              <a:t>vil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</a:t>
            </a:r>
            <a:r>
              <a:rPr lang="en-US" err="1"/>
              <a:t>utgangspunktet</a:t>
            </a:r>
            <a:r>
              <a:rPr lang="en-US"/>
              <a:t> </a:t>
            </a:r>
            <a:r>
              <a:rPr lang="en-US" err="1"/>
              <a:t>følge</a:t>
            </a:r>
            <a:r>
              <a:rPr lang="en-US"/>
              <a:t> </a:t>
            </a:r>
            <a:r>
              <a:rPr lang="en-US" err="1"/>
              <a:t>studentene</a:t>
            </a:r>
            <a:endParaRPr lang="en-US"/>
          </a:p>
          <a:p>
            <a:pPr lvl="1"/>
            <a:r>
              <a:rPr lang="en-US"/>
              <a:t>Noe av </a:t>
            </a:r>
            <a:r>
              <a:rPr lang="en-US" err="1"/>
              <a:t>midlene</a:t>
            </a:r>
            <a:r>
              <a:rPr lang="en-US"/>
              <a:t> </a:t>
            </a:r>
            <a:r>
              <a:rPr lang="en-US" err="1"/>
              <a:t>vil</a:t>
            </a:r>
            <a:r>
              <a:rPr lang="en-US"/>
              <a:t> </a:t>
            </a:r>
            <a:r>
              <a:rPr lang="en-US" err="1"/>
              <a:t>gå</a:t>
            </a:r>
            <a:r>
              <a:rPr lang="en-US"/>
              <a:t> </a:t>
            </a:r>
            <a:r>
              <a:rPr lang="en-US" err="1"/>
              <a:t>til</a:t>
            </a:r>
            <a:r>
              <a:rPr lang="en-US"/>
              <a:t> å </a:t>
            </a:r>
            <a:r>
              <a:rPr lang="en-US" err="1"/>
              <a:t>dekke</a:t>
            </a:r>
            <a:r>
              <a:rPr lang="en-US"/>
              <a:t> </a:t>
            </a:r>
            <a:r>
              <a:rPr lang="en-US" err="1"/>
              <a:t>oppskalert</a:t>
            </a:r>
            <a:r>
              <a:rPr lang="en-US"/>
              <a:t> </a:t>
            </a:r>
            <a:r>
              <a:rPr lang="en-US" err="1"/>
              <a:t>kapasitet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en-US"/>
              <a:t> HF/ILN og ISS</a:t>
            </a:r>
          </a:p>
          <a:p>
            <a:r>
              <a:rPr lang="en-US" err="1"/>
              <a:t>UiO</a:t>
            </a:r>
            <a:r>
              <a:rPr lang="en-US"/>
              <a:t> </a:t>
            </a:r>
            <a:r>
              <a:rPr lang="en-US" err="1"/>
              <a:t>rapporterer</a:t>
            </a:r>
            <a:r>
              <a:rPr lang="en-US"/>
              <a:t> </a:t>
            </a:r>
            <a:r>
              <a:rPr lang="en-US" err="1"/>
              <a:t>disponeringen</a:t>
            </a:r>
            <a:r>
              <a:rPr lang="en-US"/>
              <a:t> av </a:t>
            </a:r>
            <a:r>
              <a:rPr lang="en-US" err="1"/>
              <a:t>plassene</a:t>
            </a:r>
            <a:r>
              <a:rPr lang="en-US"/>
              <a:t> </a:t>
            </a:r>
            <a:r>
              <a:rPr lang="en-US" err="1"/>
              <a:t>til</a:t>
            </a:r>
            <a:r>
              <a:rPr lang="en-US"/>
              <a:t> KD </a:t>
            </a:r>
            <a:r>
              <a:rPr lang="en-US" err="1"/>
              <a:t>innen</a:t>
            </a:r>
            <a:r>
              <a:rPr lang="en-US"/>
              <a:t> 15. </a:t>
            </a:r>
            <a:r>
              <a:rPr lang="en-US" err="1"/>
              <a:t>november</a:t>
            </a:r>
            <a:endParaRPr lang="en-US"/>
          </a:p>
          <a:p>
            <a:pPr lvl="1"/>
            <a:r>
              <a:rPr lang="en-US"/>
              <a:t>KD </a:t>
            </a:r>
            <a:r>
              <a:rPr lang="en-US" err="1"/>
              <a:t>har</a:t>
            </a:r>
            <a:r>
              <a:rPr lang="en-US"/>
              <a:t> </a:t>
            </a:r>
            <a:r>
              <a:rPr lang="en-US" err="1"/>
              <a:t>varslet</a:t>
            </a:r>
            <a:r>
              <a:rPr lang="en-US"/>
              <a:t> at </a:t>
            </a:r>
            <a:r>
              <a:rPr lang="en-US" err="1"/>
              <a:t>plasser</a:t>
            </a:r>
            <a:r>
              <a:rPr lang="en-US"/>
              <a:t> </a:t>
            </a:r>
            <a:r>
              <a:rPr lang="en-US" err="1"/>
              <a:t>kan</a:t>
            </a:r>
            <a:r>
              <a:rPr lang="en-US"/>
              <a:t> </a:t>
            </a:r>
            <a:r>
              <a:rPr lang="en-US" err="1"/>
              <a:t>inndras</a:t>
            </a:r>
            <a:r>
              <a:rPr lang="en-US"/>
              <a:t>/</a:t>
            </a:r>
            <a:r>
              <a:rPr lang="en-US" err="1"/>
              <a:t>omdisponeres</a:t>
            </a:r>
            <a:r>
              <a:rPr lang="en-US"/>
              <a:t> </a:t>
            </a:r>
            <a:r>
              <a:rPr lang="en-US" err="1"/>
              <a:t>hvis</a:t>
            </a:r>
            <a:r>
              <a:rPr lang="en-US"/>
              <a:t> de </a:t>
            </a:r>
            <a:r>
              <a:rPr lang="en-US" err="1"/>
              <a:t>ikke</a:t>
            </a:r>
            <a:r>
              <a:rPr lang="en-US"/>
              <a:t> </a:t>
            </a:r>
            <a:r>
              <a:rPr lang="en-US" err="1"/>
              <a:t>blir</a:t>
            </a:r>
            <a:r>
              <a:rPr lang="en-US"/>
              <a:t> </a:t>
            </a:r>
            <a:r>
              <a:rPr lang="en-US" err="1"/>
              <a:t>benyttet</a:t>
            </a:r>
            <a:endParaRPr lang="en-US"/>
          </a:p>
          <a:p>
            <a:r>
              <a:rPr lang="en-US"/>
              <a:t>Skal vi ha et </a:t>
            </a:r>
            <a:r>
              <a:rPr lang="en-US" err="1"/>
              <a:t>tilbud</a:t>
            </a:r>
            <a:r>
              <a:rPr lang="en-US"/>
              <a:t> </a:t>
            </a:r>
            <a:r>
              <a:rPr lang="en-US" err="1"/>
              <a:t>til</a:t>
            </a:r>
            <a:r>
              <a:rPr lang="en-US"/>
              <a:t> </a:t>
            </a:r>
            <a:r>
              <a:rPr lang="en-US" err="1"/>
              <a:t>denne</a:t>
            </a:r>
            <a:r>
              <a:rPr lang="en-US"/>
              <a:t> </a:t>
            </a:r>
            <a:r>
              <a:rPr lang="en-US" err="1"/>
              <a:t>studentgruppen</a:t>
            </a:r>
            <a:r>
              <a:rPr lang="en-US"/>
              <a:t> V23?</a:t>
            </a:r>
          </a:p>
          <a:p>
            <a:pPr lvl="1"/>
            <a:r>
              <a:rPr lang="en-US" err="1"/>
              <a:t>Studenter</a:t>
            </a:r>
            <a:r>
              <a:rPr lang="en-US"/>
              <a:t> tatt </a:t>
            </a:r>
            <a:r>
              <a:rPr lang="en-US" err="1"/>
              <a:t>opp</a:t>
            </a:r>
            <a:r>
              <a:rPr lang="en-US"/>
              <a:t> </a:t>
            </a:r>
            <a:r>
              <a:rPr lang="en-US" err="1"/>
              <a:t>til</a:t>
            </a:r>
            <a:r>
              <a:rPr lang="en-US"/>
              <a:t> et </a:t>
            </a:r>
            <a:r>
              <a:rPr lang="en-US" err="1"/>
              <a:t>studieløp</a:t>
            </a:r>
            <a:r>
              <a:rPr lang="en-US"/>
              <a:t>, </a:t>
            </a:r>
            <a:r>
              <a:rPr lang="en-US" err="1"/>
              <a:t>må</a:t>
            </a:r>
            <a:r>
              <a:rPr lang="en-US"/>
              <a:t> </a:t>
            </a:r>
            <a:r>
              <a:rPr lang="en-US" err="1"/>
              <a:t>få</a:t>
            </a:r>
            <a:r>
              <a:rPr lang="en-US"/>
              <a:t> </a:t>
            </a:r>
            <a:r>
              <a:rPr lang="en-US" err="1"/>
              <a:t>anledning</a:t>
            </a:r>
            <a:r>
              <a:rPr lang="en-US"/>
              <a:t> </a:t>
            </a:r>
            <a:r>
              <a:rPr lang="en-US" err="1"/>
              <a:t>til</a:t>
            </a:r>
            <a:r>
              <a:rPr lang="en-US"/>
              <a:t> å </a:t>
            </a:r>
            <a:r>
              <a:rPr lang="en-US" err="1"/>
              <a:t>fullføre</a:t>
            </a:r>
            <a:r>
              <a:rPr lang="en-US"/>
              <a:t> </a:t>
            </a:r>
            <a:r>
              <a:rPr lang="en-US" err="1"/>
              <a:t>studieløpet</a:t>
            </a:r>
            <a:endParaRPr lang="en-US"/>
          </a:p>
          <a:p>
            <a:pPr lvl="1"/>
            <a:r>
              <a:rPr lang="en-US"/>
              <a:t>KD og HK-</a:t>
            </a:r>
            <a:r>
              <a:rPr lang="en-US" err="1"/>
              <a:t>dir</a:t>
            </a:r>
            <a:r>
              <a:rPr lang="en-US"/>
              <a:t> </a:t>
            </a:r>
            <a:r>
              <a:rPr lang="en-US" err="1"/>
              <a:t>har</a:t>
            </a:r>
            <a:r>
              <a:rPr lang="en-US"/>
              <a:t> </a:t>
            </a:r>
            <a:r>
              <a:rPr lang="en-US" err="1"/>
              <a:t>foreløpig</a:t>
            </a:r>
            <a:r>
              <a:rPr lang="en-US"/>
              <a:t> </a:t>
            </a:r>
            <a:r>
              <a:rPr lang="en-US" err="1"/>
              <a:t>ikke</a:t>
            </a:r>
            <a:r>
              <a:rPr lang="en-US"/>
              <a:t> </a:t>
            </a:r>
            <a:r>
              <a:rPr lang="en-US" err="1"/>
              <a:t>gitt</a:t>
            </a:r>
            <a:r>
              <a:rPr lang="en-US"/>
              <a:t> signaler om V23</a:t>
            </a:r>
          </a:p>
          <a:p>
            <a:pPr lvl="1"/>
            <a:r>
              <a:rPr lang="en-US" err="1"/>
              <a:t>UiO</a:t>
            </a:r>
            <a:r>
              <a:rPr lang="en-US"/>
              <a:t> </a:t>
            </a:r>
            <a:r>
              <a:rPr lang="en-US" err="1"/>
              <a:t>må</a:t>
            </a:r>
            <a:r>
              <a:rPr lang="en-US"/>
              <a:t> </a:t>
            </a:r>
            <a:r>
              <a:rPr lang="en-US" err="1"/>
              <a:t>holde</a:t>
            </a:r>
            <a:r>
              <a:rPr lang="en-US"/>
              <a:t> </a:t>
            </a:r>
            <a:r>
              <a:rPr lang="en-US" err="1"/>
              <a:t>muligheten</a:t>
            </a:r>
            <a:r>
              <a:rPr lang="en-US"/>
              <a:t> for å lyse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nytt</a:t>
            </a:r>
            <a:r>
              <a:rPr lang="en-US"/>
              <a:t> </a:t>
            </a:r>
            <a:r>
              <a:rPr lang="en-US" err="1"/>
              <a:t>opptak</a:t>
            </a:r>
            <a:r>
              <a:rPr lang="en-US"/>
              <a:t> V23 </a:t>
            </a:r>
            <a:r>
              <a:rPr lang="en-US" err="1"/>
              <a:t>åpen</a:t>
            </a:r>
            <a:endParaRPr lang="en-US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C372677-6BD0-4928-BA81-96EDCF50EA10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65937AD-AF7F-4740-99B7-568539B69045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4127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4A3461D5-36ED-4665-B3FE-2BAD1DA8EADD}" vid="{585C287C-E974-4785-BD2C-7F401461D4E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24528288B669942A04DD0FC26D38A7E" ma:contentTypeVersion="10" ma:contentTypeDescription="Opprett et nytt dokument." ma:contentTypeScope="" ma:versionID="62d17b9b40b385993028519cd8b18cb6">
  <xsd:schema xmlns:xsd="http://www.w3.org/2001/XMLSchema" xmlns:xs="http://www.w3.org/2001/XMLSchema" xmlns:p="http://schemas.microsoft.com/office/2006/metadata/properties" xmlns:ns2="81ddff66-9fb7-42cc-9013-c530f11327ff" xmlns:ns3="f2339ab2-52dd-407a-a51f-92335d993934" targetNamespace="http://schemas.microsoft.com/office/2006/metadata/properties" ma:root="true" ma:fieldsID="daa624c4364509fd14d0fdd8166c2ad9" ns2:_="" ns3:_="">
    <xsd:import namespace="81ddff66-9fb7-42cc-9013-c530f11327ff"/>
    <xsd:import namespace="f2339ab2-52dd-407a-a51f-92335d99393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ddff66-9fb7-42cc-9013-c530f11327f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339ab2-52dd-407a-a51f-92335d993934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81ddff66-9fb7-42cc-9013-c530f11327ff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f2339ab2-52dd-407a-a51f-92335d993934"/>
    <ds:schemaRef ds:uri="http://purl.org/dc/elements/1.1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B3843F0-CBA6-416B-8ED7-FBC3CDD3529E}">
  <ds:schemaRefs>
    <ds:schemaRef ds:uri="81ddff66-9fb7-42cc-9013-c530f11327ff"/>
    <ds:schemaRef ds:uri="f2339ab2-52dd-407a-a51f-92335d99393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1</TotalTime>
  <Words>429</Words>
  <Application>Microsoft Office PowerPoint</Application>
  <PresentationFormat>Widescreen</PresentationFormat>
  <Paragraphs>37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Arial, sans-serif</vt:lpstr>
      <vt:lpstr>Calibri</vt:lpstr>
      <vt:lpstr>Wingdings</vt:lpstr>
      <vt:lpstr>Office-tema</vt:lpstr>
      <vt:lpstr>think-cell Slide</vt:lpstr>
      <vt:lpstr>Studietilbud for flyktninger</vt:lpstr>
      <vt:lpstr>UiOs studietilbud for flyktninger – kort oppsummering</vt:lpstr>
      <vt:lpstr>Litt om søkerne</vt:lpstr>
      <vt:lpstr>PowerPoint Presentation</vt:lpstr>
      <vt:lpstr>Hva skjer videre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udietilbud for flyktninger</dc:title>
  <dc:creator>Birgitte Brørs</dc:creator>
  <cp:lastModifiedBy>Kirsti Margrethe Mortensen</cp:lastModifiedBy>
  <cp:revision>23</cp:revision>
  <dcterms:created xsi:type="dcterms:W3CDTF">2022-08-26T09:01:38Z</dcterms:created>
  <dcterms:modified xsi:type="dcterms:W3CDTF">2022-09-02T08:52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_dlc_DocIdItemGuid">
    <vt:lpwstr>e1ba8df5-1c55-4d83-8486-5b6b738896d5</vt:lpwstr>
  </property>
  <property fmtid="{D5CDD505-2E9C-101B-9397-08002B2CF9AE}" pid="4" name="ContentTypeId">
    <vt:lpwstr>0x010100A24528288B669942A04DD0FC26D38A7E</vt:lpwstr>
  </property>
</Properties>
</file>